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1" r:id="rId1"/>
    <p:sldMasterId id="2147483830" r:id="rId2"/>
  </p:sldMasterIdLst>
  <p:notesMasterIdLst>
    <p:notesMasterId r:id="rId23"/>
  </p:notesMasterIdLst>
  <p:handoutMasterIdLst>
    <p:handoutMasterId r:id="rId24"/>
  </p:handoutMasterIdLst>
  <p:sldIdLst>
    <p:sldId id="428" r:id="rId3"/>
    <p:sldId id="257" r:id="rId4"/>
    <p:sldId id="429" r:id="rId5"/>
    <p:sldId id="430" r:id="rId6"/>
    <p:sldId id="454" r:id="rId7"/>
    <p:sldId id="437" r:id="rId8"/>
    <p:sldId id="448" r:id="rId9"/>
    <p:sldId id="449" r:id="rId10"/>
    <p:sldId id="450" r:id="rId11"/>
    <p:sldId id="453" r:id="rId12"/>
    <p:sldId id="451" r:id="rId13"/>
    <p:sldId id="452" r:id="rId14"/>
    <p:sldId id="456" r:id="rId15"/>
    <p:sldId id="445" r:id="rId16"/>
    <p:sldId id="446" r:id="rId17"/>
    <p:sldId id="447" r:id="rId18"/>
    <p:sldId id="322" r:id="rId19"/>
    <p:sldId id="440" r:id="rId20"/>
    <p:sldId id="433" r:id="rId21"/>
    <p:sldId id="426" r:id="rId22"/>
  </p:sldIdLst>
  <p:sldSz cx="9144000" cy="6858000" type="screen4x3"/>
  <p:notesSz cx="7099300" cy="10234613"/>
  <p:custDataLst>
    <p:tags r:id="rId2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24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AH" initials="M" lastIdx="1" clrIdx="0"/>
  <p:cmAuthor id="1" name="Benoit Servant" initials="BS" lastIdx="4" clrIdx="1"/>
  <p:cmAuthor id="2" name="Elise Proult" initials="EP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C6E1"/>
    <a:srgbClr val="4F81BE"/>
    <a:srgbClr val="DCA4A3"/>
    <a:srgbClr val="F6C59D"/>
    <a:srgbClr val="A5D5E2"/>
    <a:srgbClr val="BFB1D0"/>
    <a:srgbClr val="CDDDAC"/>
    <a:srgbClr val="EE8028"/>
    <a:srgbClr val="F18E00"/>
    <a:srgbClr val="0237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268" autoAdjust="0"/>
    <p:restoredTop sz="94660"/>
  </p:normalViewPr>
  <p:slideViewPr>
    <p:cSldViewPr snapToGrid="0">
      <p:cViewPr varScale="1">
        <p:scale>
          <a:sx n="70" d="100"/>
          <a:sy n="70" d="100"/>
        </p:scale>
        <p:origin x="1026" y="78"/>
      </p:cViewPr>
      <p:guideLst>
        <p:guide orient="horz" pos="1424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1722" y="78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D3C8EC-6362-43F4-B7B6-B120E51C7A32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34FF03A9-4CDD-45D0-B998-0E5E8B263484}">
      <dgm:prSet phldrT="[Texte]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dirty="0" smtClean="0"/>
            <a:t>Les actions issues des différentes portes d’entrée de la rosace sont classées par thématique</a:t>
          </a:r>
        </a:p>
      </dgm:t>
    </dgm:pt>
    <dgm:pt modelId="{1202EA38-305A-4C88-95B0-5EC2C69A0E36}" type="parTrans" cxnId="{535982AE-B441-44D1-8101-61B9FB559E2C}">
      <dgm:prSet/>
      <dgm:spPr/>
      <dgm:t>
        <a:bodyPr/>
        <a:lstStyle/>
        <a:p>
          <a:endParaRPr lang="fr-FR"/>
        </a:p>
      </dgm:t>
    </dgm:pt>
    <dgm:pt modelId="{E51493C7-E65C-4A50-A88C-957583302ED7}" type="sibTrans" cxnId="{535982AE-B441-44D1-8101-61B9FB559E2C}">
      <dgm:prSet/>
      <dgm:spPr/>
      <dgm:t>
        <a:bodyPr/>
        <a:lstStyle/>
        <a:p>
          <a:endParaRPr lang="fr-FR"/>
        </a:p>
      </dgm:t>
    </dgm:pt>
    <dgm:pt modelId="{6C68D7E0-9AE0-4E6C-83F5-857696464E94}">
      <dgm:prSet phldrT="[Texte]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 smtClean="0"/>
            <a:t>Thématique A</a:t>
          </a:r>
          <a:endParaRPr lang="fr-FR" dirty="0"/>
        </a:p>
      </dgm:t>
    </dgm:pt>
    <dgm:pt modelId="{26CF1705-069B-4842-ABBB-A5F9846856D3}" type="parTrans" cxnId="{592FB787-5F79-4A59-B2AE-2D484BF68ED9}">
      <dgm:prSet/>
      <dgm:spPr/>
      <dgm:t>
        <a:bodyPr/>
        <a:lstStyle/>
        <a:p>
          <a:endParaRPr lang="fr-FR"/>
        </a:p>
      </dgm:t>
    </dgm:pt>
    <dgm:pt modelId="{0D8B58E8-4794-414D-8A58-E6470413EC49}" type="sibTrans" cxnId="{592FB787-5F79-4A59-B2AE-2D484BF68ED9}">
      <dgm:prSet/>
      <dgm:spPr/>
      <dgm:t>
        <a:bodyPr/>
        <a:lstStyle/>
        <a:p>
          <a:endParaRPr lang="fr-FR"/>
        </a:p>
      </dgm:t>
    </dgm:pt>
    <dgm:pt modelId="{9138A288-51E4-441F-9459-9C564F72F41D}">
      <dgm:prSet phldrT="[Texte]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 smtClean="0"/>
            <a:t>Thématique B</a:t>
          </a:r>
          <a:endParaRPr lang="fr-FR" dirty="0"/>
        </a:p>
      </dgm:t>
    </dgm:pt>
    <dgm:pt modelId="{15D924B4-F57E-43DF-854A-62ACDAAD2276}" type="parTrans" cxnId="{C702A8FB-45FB-4BEA-B327-DD9E91DF899F}">
      <dgm:prSet/>
      <dgm:spPr/>
      <dgm:t>
        <a:bodyPr/>
        <a:lstStyle/>
        <a:p>
          <a:endParaRPr lang="fr-FR"/>
        </a:p>
      </dgm:t>
    </dgm:pt>
    <dgm:pt modelId="{5364D4B7-E1C7-459D-A3D1-E06A3530A1D9}" type="sibTrans" cxnId="{C702A8FB-45FB-4BEA-B327-DD9E91DF899F}">
      <dgm:prSet/>
      <dgm:spPr/>
      <dgm:t>
        <a:bodyPr/>
        <a:lstStyle/>
        <a:p>
          <a:endParaRPr lang="fr-FR"/>
        </a:p>
      </dgm:t>
    </dgm:pt>
    <dgm:pt modelId="{08B671C9-7B69-49BF-AF80-2D36213A4FC0}">
      <dgm:prSet phldrT="[Texte]">
        <dgm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 smtClean="0"/>
            <a:t>Thématique A</a:t>
          </a:r>
          <a:endParaRPr lang="fr-FR" dirty="0"/>
        </a:p>
      </dgm:t>
    </dgm:pt>
    <dgm:pt modelId="{DA2F284C-EBDA-4FEE-B159-C7F88B81CFD6}" type="parTrans" cxnId="{376E62B5-B6B7-4DDB-9B29-3105CCE94377}">
      <dgm:prSet/>
      <dgm:spPr/>
      <dgm:t>
        <a:bodyPr/>
        <a:lstStyle/>
        <a:p>
          <a:endParaRPr lang="fr-FR"/>
        </a:p>
      </dgm:t>
    </dgm:pt>
    <dgm:pt modelId="{B92552CE-C5AF-41E1-8886-ED3565B78355}" type="sibTrans" cxnId="{376E62B5-B6B7-4DDB-9B29-3105CCE94377}">
      <dgm:prSet/>
      <dgm:spPr/>
      <dgm:t>
        <a:bodyPr/>
        <a:lstStyle/>
        <a:p>
          <a:endParaRPr lang="fr-FR"/>
        </a:p>
      </dgm:t>
    </dgm:pt>
    <dgm:pt modelId="{2F083807-77BF-4EC3-BD99-CE7121FD8005}">
      <dgm:prSet phldrT="[Texte]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dirty="0" smtClean="0"/>
            <a:t>Action n°5 porte 1</a:t>
          </a:r>
          <a:endParaRPr lang="fr-FR" dirty="0"/>
        </a:p>
      </dgm:t>
    </dgm:pt>
    <dgm:pt modelId="{38BEF426-65E0-4DEE-958B-6F088FAC30ED}" type="parTrans" cxnId="{BBEAB1C0-BD6C-442C-8C7E-3F536EA8FC27}">
      <dgm:prSet/>
      <dgm:spPr/>
      <dgm:t>
        <a:bodyPr/>
        <a:lstStyle/>
        <a:p>
          <a:endParaRPr lang="fr-FR"/>
        </a:p>
      </dgm:t>
    </dgm:pt>
    <dgm:pt modelId="{7EEA027A-1781-4D0E-884D-4CD8F4C342DA}" type="sibTrans" cxnId="{BBEAB1C0-BD6C-442C-8C7E-3F536EA8FC27}">
      <dgm:prSet/>
      <dgm:spPr/>
      <dgm:t>
        <a:bodyPr/>
        <a:lstStyle/>
        <a:p>
          <a:endParaRPr lang="fr-FR"/>
        </a:p>
      </dgm:t>
    </dgm:pt>
    <dgm:pt modelId="{B4AC9125-9504-442A-9DFF-FDB3A596B3D8}">
      <dgm:prSet phldrT="[Texte]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fr-FR" dirty="0" smtClean="0"/>
            <a:t>Action n°2 porte 5</a:t>
          </a:r>
          <a:endParaRPr lang="fr-FR" dirty="0"/>
        </a:p>
      </dgm:t>
    </dgm:pt>
    <dgm:pt modelId="{A77578C3-63E9-4CFE-9D46-6B5A2D6A8D9C}" type="parTrans" cxnId="{9F2E369B-08ED-49B7-B963-256E793A7644}">
      <dgm:prSet/>
      <dgm:spPr/>
      <dgm:t>
        <a:bodyPr/>
        <a:lstStyle/>
        <a:p>
          <a:endParaRPr lang="fr-FR"/>
        </a:p>
      </dgm:t>
    </dgm:pt>
    <dgm:pt modelId="{FE327A44-AF19-4F35-8F75-974FEFC15C45}" type="sibTrans" cxnId="{9F2E369B-08ED-49B7-B963-256E793A7644}">
      <dgm:prSet/>
      <dgm:spPr/>
      <dgm:t>
        <a:bodyPr/>
        <a:lstStyle/>
        <a:p>
          <a:endParaRPr lang="fr-FR"/>
        </a:p>
      </dgm:t>
    </dgm:pt>
    <dgm:pt modelId="{52984D46-95E7-4791-BB80-0B46835351A2}">
      <dgm:prSet phldrT="[Texte]"/>
      <dgm:spPr/>
      <dgm:t>
        <a:bodyPr/>
        <a:lstStyle/>
        <a:p>
          <a:r>
            <a:rPr lang="fr-FR" dirty="0" smtClean="0"/>
            <a:t>Thématique B</a:t>
          </a:r>
          <a:endParaRPr lang="fr-FR" dirty="0"/>
        </a:p>
      </dgm:t>
    </dgm:pt>
    <dgm:pt modelId="{6BC5E957-9D22-47A6-8179-B5278A5163FE}" type="parTrans" cxnId="{AC8FD521-1009-4F6B-AFF9-FF4F808F3DF2}">
      <dgm:prSet/>
      <dgm:spPr/>
      <dgm:t>
        <a:bodyPr/>
        <a:lstStyle/>
        <a:p>
          <a:endParaRPr lang="fr-FR"/>
        </a:p>
      </dgm:t>
    </dgm:pt>
    <dgm:pt modelId="{93451EA2-2A1F-4430-AF6F-493F8324BEAA}" type="sibTrans" cxnId="{AC8FD521-1009-4F6B-AFF9-FF4F808F3DF2}">
      <dgm:prSet/>
      <dgm:spPr/>
      <dgm:t>
        <a:bodyPr/>
        <a:lstStyle/>
        <a:p>
          <a:endParaRPr lang="fr-FR"/>
        </a:p>
      </dgm:t>
    </dgm:pt>
    <dgm:pt modelId="{2B556BE9-2D19-4A69-963C-89016146D954}">
      <dgm:prSet phldrT="[Texte]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 smtClean="0"/>
            <a:t>Action n°3 porte 2</a:t>
          </a:r>
          <a:endParaRPr lang="fr-FR" dirty="0"/>
        </a:p>
      </dgm:t>
    </dgm:pt>
    <dgm:pt modelId="{C4774BAC-DCD2-4A34-BD80-293ADBAFBD7E}" type="parTrans" cxnId="{B3A07C81-C13B-4B97-BB07-878468F67CA8}">
      <dgm:prSet/>
      <dgm:spPr/>
      <dgm:t>
        <a:bodyPr/>
        <a:lstStyle/>
        <a:p>
          <a:endParaRPr lang="fr-FR"/>
        </a:p>
      </dgm:t>
    </dgm:pt>
    <dgm:pt modelId="{9222E856-47E3-4A27-867C-D5FFFBED4389}" type="sibTrans" cxnId="{B3A07C81-C13B-4B97-BB07-878468F67CA8}">
      <dgm:prSet/>
      <dgm:spPr/>
      <dgm:t>
        <a:bodyPr/>
        <a:lstStyle/>
        <a:p>
          <a:endParaRPr lang="fr-FR"/>
        </a:p>
      </dgm:t>
    </dgm:pt>
    <dgm:pt modelId="{93A635C2-BD78-4226-A143-85808C53EE80}">
      <dgm:prSet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fr-FR" dirty="0" smtClean="0"/>
            <a:t>Action n°4 porte 1</a:t>
          </a:r>
          <a:endParaRPr lang="fr-FR" dirty="0"/>
        </a:p>
      </dgm:t>
    </dgm:pt>
    <dgm:pt modelId="{5E49CAFE-9A33-45D9-856D-5B60424237D9}" type="parTrans" cxnId="{838A0FCA-ED10-4B41-92CE-3503852F352D}">
      <dgm:prSet/>
      <dgm:spPr/>
      <dgm:t>
        <a:bodyPr/>
        <a:lstStyle/>
        <a:p>
          <a:endParaRPr lang="fr-FR"/>
        </a:p>
      </dgm:t>
    </dgm:pt>
    <dgm:pt modelId="{BBC44D3A-2738-43AA-AFAC-7CA42941E7AB}" type="sibTrans" cxnId="{838A0FCA-ED10-4B41-92CE-3503852F352D}">
      <dgm:prSet/>
      <dgm:spPr/>
      <dgm:t>
        <a:bodyPr/>
        <a:lstStyle/>
        <a:p>
          <a:endParaRPr lang="fr-FR"/>
        </a:p>
      </dgm:t>
    </dgm:pt>
    <dgm:pt modelId="{B21607DE-D4B3-4132-8FDC-D98B295B7EA7}" type="pres">
      <dgm:prSet presAssocID="{82D3C8EC-6362-43F4-B7B6-B120E51C7A3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4131B834-17C3-4B5E-9ECC-DB20510704E5}" type="pres">
      <dgm:prSet presAssocID="{34FF03A9-4CDD-45D0-B998-0E5E8B263484}" presName="linNode" presStyleCnt="0"/>
      <dgm:spPr/>
    </dgm:pt>
    <dgm:pt modelId="{326DE10F-E03A-4C14-A962-9BD441984E30}" type="pres">
      <dgm:prSet presAssocID="{34FF03A9-4CDD-45D0-B998-0E5E8B263484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651AF30-8BD6-42A5-8435-68F7CA957D8D}" type="pres">
      <dgm:prSet presAssocID="{34FF03A9-4CDD-45D0-B998-0E5E8B263484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BE09EF9-BA9A-45E7-B7C0-445D96C4DDA2}" type="pres">
      <dgm:prSet presAssocID="{E51493C7-E65C-4A50-A88C-957583302ED7}" presName="sp" presStyleCnt="0"/>
      <dgm:spPr/>
    </dgm:pt>
    <dgm:pt modelId="{3340634D-2347-48F4-B51C-44D26D202AD0}" type="pres">
      <dgm:prSet presAssocID="{08B671C9-7B69-49BF-AF80-2D36213A4FC0}" presName="linNode" presStyleCnt="0"/>
      <dgm:spPr/>
    </dgm:pt>
    <dgm:pt modelId="{7EB3BBAD-DE80-47F8-88AE-A7CC979BF362}" type="pres">
      <dgm:prSet presAssocID="{08B671C9-7B69-49BF-AF80-2D36213A4FC0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4C696AB-6905-48E7-9ED7-812F63D28C15}" type="pres">
      <dgm:prSet presAssocID="{08B671C9-7B69-49BF-AF80-2D36213A4FC0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BA02AEB-4B71-4453-9E34-BD7FEE731A01}" type="pres">
      <dgm:prSet presAssocID="{B92552CE-C5AF-41E1-8886-ED3565B78355}" presName="sp" presStyleCnt="0"/>
      <dgm:spPr/>
    </dgm:pt>
    <dgm:pt modelId="{0BB143A3-9926-4A12-A1DA-EED2FB8D44CB}" type="pres">
      <dgm:prSet presAssocID="{52984D46-95E7-4791-BB80-0B46835351A2}" presName="linNode" presStyleCnt="0"/>
      <dgm:spPr/>
    </dgm:pt>
    <dgm:pt modelId="{263CA987-B71D-4CA3-BAD4-AB1F2A73E65A}" type="pres">
      <dgm:prSet presAssocID="{52984D46-95E7-4791-BB80-0B46835351A2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BF4C949-E81D-4765-AAC3-D87FB9B516DB}" type="pres">
      <dgm:prSet presAssocID="{52984D46-95E7-4791-BB80-0B46835351A2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6DCF209C-A3EF-4F06-9688-ED55DC52B606}" type="presOf" srcId="{82D3C8EC-6362-43F4-B7B6-B120E51C7A32}" destId="{B21607DE-D4B3-4132-8FDC-D98B295B7EA7}" srcOrd="0" destOrd="0" presId="urn:microsoft.com/office/officeart/2005/8/layout/vList5"/>
    <dgm:cxn modelId="{AC8FD521-1009-4F6B-AFF9-FF4F808F3DF2}" srcId="{82D3C8EC-6362-43F4-B7B6-B120E51C7A32}" destId="{52984D46-95E7-4791-BB80-0B46835351A2}" srcOrd="2" destOrd="0" parTransId="{6BC5E957-9D22-47A6-8179-B5278A5163FE}" sibTransId="{93451EA2-2A1F-4430-AF6F-493F8324BEAA}"/>
    <dgm:cxn modelId="{C702A8FB-45FB-4BEA-B327-DD9E91DF899F}" srcId="{34FF03A9-4CDD-45D0-B998-0E5E8B263484}" destId="{9138A288-51E4-441F-9459-9C564F72F41D}" srcOrd="1" destOrd="0" parTransId="{15D924B4-F57E-43DF-854A-62ACDAAD2276}" sibTransId="{5364D4B7-E1C7-459D-A3D1-E06A3530A1D9}"/>
    <dgm:cxn modelId="{BBEAB1C0-BD6C-442C-8C7E-3F536EA8FC27}" srcId="{08B671C9-7B69-49BF-AF80-2D36213A4FC0}" destId="{2F083807-77BF-4EC3-BD99-CE7121FD8005}" srcOrd="0" destOrd="0" parTransId="{38BEF426-65E0-4DEE-958B-6F088FAC30ED}" sibTransId="{7EEA027A-1781-4D0E-884D-4CD8F4C342DA}"/>
    <dgm:cxn modelId="{592FB787-5F79-4A59-B2AE-2D484BF68ED9}" srcId="{34FF03A9-4CDD-45D0-B998-0E5E8B263484}" destId="{6C68D7E0-9AE0-4E6C-83F5-857696464E94}" srcOrd="0" destOrd="0" parTransId="{26CF1705-069B-4842-ABBB-A5F9846856D3}" sibTransId="{0D8B58E8-4794-414D-8A58-E6470413EC49}"/>
    <dgm:cxn modelId="{838A0FCA-ED10-4B41-92CE-3503852F352D}" srcId="{52984D46-95E7-4791-BB80-0B46835351A2}" destId="{93A635C2-BD78-4226-A143-85808C53EE80}" srcOrd="1" destOrd="0" parTransId="{5E49CAFE-9A33-45D9-856D-5B60424237D9}" sibTransId="{BBC44D3A-2738-43AA-AFAC-7CA42941E7AB}"/>
    <dgm:cxn modelId="{B28116C9-A615-4252-9D80-0DC1A3B81ED0}" type="presOf" srcId="{08B671C9-7B69-49BF-AF80-2D36213A4FC0}" destId="{7EB3BBAD-DE80-47F8-88AE-A7CC979BF362}" srcOrd="0" destOrd="0" presId="urn:microsoft.com/office/officeart/2005/8/layout/vList5"/>
    <dgm:cxn modelId="{228AE9FC-C33E-42EF-83F8-20A657AB8B26}" type="presOf" srcId="{2B556BE9-2D19-4A69-963C-89016146D954}" destId="{CBF4C949-E81D-4765-AAC3-D87FB9B516DB}" srcOrd="0" destOrd="0" presId="urn:microsoft.com/office/officeart/2005/8/layout/vList5"/>
    <dgm:cxn modelId="{3EECA3F5-41F4-4B98-BFF2-68148696D658}" type="presOf" srcId="{52984D46-95E7-4791-BB80-0B46835351A2}" destId="{263CA987-B71D-4CA3-BAD4-AB1F2A73E65A}" srcOrd="0" destOrd="0" presId="urn:microsoft.com/office/officeart/2005/8/layout/vList5"/>
    <dgm:cxn modelId="{376E62B5-B6B7-4DDB-9B29-3105CCE94377}" srcId="{82D3C8EC-6362-43F4-B7B6-B120E51C7A32}" destId="{08B671C9-7B69-49BF-AF80-2D36213A4FC0}" srcOrd="1" destOrd="0" parTransId="{DA2F284C-EBDA-4FEE-B159-C7F88B81CFD6}" sibTransId="{B92552CE-C5AF-41E1-8886-ED3565B78355}"/>
    <dgm:cxn modelId="{E53BEB1F-B986-48FE-87A4-D00ED4E9327A}" type="presOf" srcId="{9138A288-51E4-441F-9459-9C564F72F41D}" destId="{0651AF30-8BD6-42A5-8435-68F7CA957D8D}" srcOrd="0" destOrd="1" presId="urn:microsoft.com/office/officeart/2005/8/layout/vList5"/>
    <dgm:cxn modelId="{B9E3E448-F346-4B20-9D0B-F9A50E7C21BC}" type="presOf" srcId="{93A635C2-BD78-4226-A143-85808C53EE80}" destId="{CBF4C949-E81D-4765-AAC3-D87FB9B516DB}" srcOrd="0" destOrd="1" presId="urn:microsoft.com/office/officeart/2005/8/layout/vList5"/>
    <dgm:cxn modelId="{9F2E369B-08ED-49B7-B963-256E793A7644}" srcId="{08B671C9-7B69-49BF-AF80-2D36213A4FC0}" destId="{B4AC9125-9504-442A-9DFF-FDB3A596B3D8}" srcOrd="1" destOrd="0" parTransId="{A77578C3-63E9-4CFE-9D46-6B5A2D6A8D9C}" sibTransId="{FE327A44-AF19-4F35-8F75-974FEFC15C45}"/>
    <dgm:cxn modelId="{B3A07C81-C13B-4B97-BB07-878468F67CA8}" srcId="{52984D46-95E7-4791-BB80-0B46835351A2}" destId="{2B556BE9-2D19-4A69-963C-89016146D954}" srcOrd="0" destOrd="0" parTransId="{C4774BAC-DCD2-4A34-BD80-293ADBAFBD7E}" sibTransId="{9222E856-47E3-4A27-867C-D5FFFBED4389}"/>
    <dgm:cxn modelId="{CD4D0E3E-EBEC-4492-B3C3-9F94EB9C89E5}" type="presOf" srcId="{B4AC9125-9504-442A-9DFF-FDB3A596B3D8}" destId="{24C696AB-6905-48E7-9ED7-812F63D28C15}" srcOrd="0" destOrd="1" presId="urn:microsoft.com/office/officeart/2005/8/layout/vList5"/>
    <dgm:cxn modelId="{535982AE-B441-44D1-8101-61B9FB559E2C}" srcId="{82D3C8EC-6362-43F4-B7B6-B120E51C7A32}" destId="{34FF03A9-4CDD-45D0-B998-0E5E8B263484}" srcOrd="0" destOrd="0" parTransId="{1202EA38-305A-4C88-95B0-5EC2C69A0E36}" sibTransId="{E51493C7-E65C-4A50-A88C-957583302ED7}"/>
    <dgm:cxn modelId="{E673162A-25A9-4005-89FA-AE61A3C912BC}" type="presOf" srcId="{6C68D7E0-9AE0-4E6C-83F5-857696464E94}" destId="{0651AF30-8BD6-42A5-8435-68F7CA957D8D}" srcOrd="0" destOrd="0" presId="urn:microsoft.com/office/officeart/2005/8/layout/vList5"/>
    <dgm:cxn modelId="{2D71656A-18AA-4848-B4D6-B76DF90F4776}" type="presOf" srcId="{34FF03A9-4CDD-45D0-B998-0E5E8B263484}" destId="{326DE10F-E03A-4C14-A962-9BD441984E30}" srcOrd="0" destOrd="0" presId="urn:microsoft.com/office/officeart/2005/8/layout/vList5"/>
    <dgm:cxn modelId="{C7F552AA-B923-4D64-9639-C8FF7BE608DE}" type="presOf" srcId="{2F083807-77BF-4EC3-BD99-CE7121FD8005}" destId="{24C696AB-6905-48E7-9ED7-812F63D28C15}" srcOrd="0" destOrd="0" presId="urn:microsoft.com/office/officeart/2005/8/layout/vList5"/>
    <dgm:cxn modelId="{9E61042D-6C2B-465D-9917-E62642610E17}" type="presParOf" srcId="{B21607DE-D4B3-4132-8FDC-D98B295B7EA7}" destId="{4131B834-17C3-4B5E-9ECC-DB20510704E5}" srcOrd="0" destOrd="0" presId="urn:microsoft.com/office/officeart/2005/8/layout/vList5"/>
    <dgm:cxn modelId="{BC40EC5A-9AEA-4E56-A726-D3AAFB3F3B26}" type="presParOf" srcId="{4131B834-17C3-4B5E-9ECC-DB20510704E5}" destId="{326DE10F-E03A-4C14-A962-9BD441984E30}" srcOrd="0" destOrd="0" presId="urn:microsoft.com/office/officeart/2005/8/layout/vList5"/>
    <dgm:cxn modelId="{B2F29772-735A-4550-B25E-99F11BBB2877}" type="presParOf" srcId="{4131B834-17C3-4B5E-9ECC-DB20510704E5}" destId="{0651AF30-8BD6-42A5-8435-68F7CA957D8D}" srcOrd="1" destOrd="0" presId="urn:microsoft.com/office/officeart/2005/8/layout/vList5"/>
    <dgm:cxn modelId="{59AE0C39-AE75-45BF-84D8-163F91DD511E}" type="presParOf" srcId="{B21607DE-D4B3-4132-8FDC-D98B295B7EA7}" destId="{0BE09EF9-BA9A-45E7-B7C0-445D96C4DDA2}" srcOrd="1" destOrd="0" presId="urn:microsoft.com/office/officeart/2005/8/layout/vList5"/>
    <dgm:cxn modelId="{5A298B5A-6FF9-43CA-A7B8-3F37A1BA831B}" type="presParOf" srcId="{B21607DE-D4B3-4132-8FDC-D98B295B7EA7}" destId="{3340634D-2347-48F4-B51C-44D26D202AD0}" srcOrd="2" destOrd="0" presId="urn:microsoft.com/office/officeart/2005/8/layout/vList5"/>
    <dgm:cxn modelId="{1B5C0702-8D67-4981-BF97-2C78A57D69EA}" type="presParOf" srcId="{3340634D-2347-48F4-B51C-44D26D202AD0}" destId="{7EB3BBAD-DE80-47F8-88AE-A7CC979BF362}" srcOrd="0" destOrd="0" presId="urn:microsoft.com/office/officeart/2005/8/layout/vList5"/>
    <dgm:cxn modelId="{0C2C59FA-8CBE-4CCF-8E9B-9C171AB2D80A}" type="presParOf" srcId="{3340634D-2347-48F4-B51C-44D26D202AD0}" destId="{24C696AB-6905-48E7-9ED7-812F63D28C15}" srcOrd="1" destOrd="0" presId="urn:microsoft.com/office/officeart/2005/8/layout/vList5"/>
    <dgm:cxn modelId="{DAADEBCC-9670-469E-BB61-030D156ECBD6}" type="presParOf" srcId="{B21607DE-D4B3-4132-8FDC-D98B295B7EA7}" destId="{0BA02AEB-4B71-4453-9E34-BD7FEE731A01}" srcOrd="3" destOrd="0" presId="urn:microsoft.com/office/officeart/2005/8/layout/vList5"/>
    <dgm:cxn modelId="{E0A13700-19B7-4810-8A55-F25013FB2A85}" type="presParOf" srcId="{B21607DE-D4B3-4132-8FDC-D98B295B7EA7}" destId="{0BB143A3-9926-4A12-A1DA-EED2FB8D44CB}" srcOrd="4" destOrd="0" presId="urn:microsoft.com/office/officeart/2005/8/layout/vList5"/>
    <dgm:cxn modelId="{ED94E891-33F1-406E-9B1E-8A6DEEFCFB89}" type="presParOf" srcId="{0BB143A3-9926-4A12-A1DA-EED2FB8D44CB}" destId="{263CA987-B71D-4CA3-BAD4-AB1F2A73E65A}" srcOrd="0" destOrd="0" presId="urn:microsoft.com/office/officeart/2005/8/layout/vList5"/>
    <dgm:cxn modelId="{BC8C6252-5174-4151-8C5A-A86F342CBBC4}" type="presParOf" srcId="{0BB143A3-9926-4A12-A1DA-EED2FB8D44CB}" destId="{CBF4C949-E81D-4765-AAC3-D87FB9B516D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9026A2A-0635-4165-86AF-FEC40A412D6D}" type="doc">
      <dgm:prSet loTypeId="urn:microsoft.com/office/officeart/2005/8/layout/vList5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fr-FR"/>
        </a:p>
      </dgm:t>
    </dgm:pt>
    <dgm:pt modelId="{2D1D5459-7480-42A6-B4DA-ADA363A2247A}">
      <dgm:prSet phldrT="[Texte]"/>
      <dgm:spPr/>
      <dgm:t>
        <a:bodyPr/>
        <a:lstStyle/>
        <a:p>
          <a:r>
            <a:rPr lang="fr-FR" dirty="0" smtClean="0"/>
            <a:t>1</a:t>
          </a:r>
          <a:r>
            <a:rPr lang="fr-FR" baseline="30000" dirty="0" smtClean="0"/>
            <a:t>er</a:t>
          </a:r>
          <a:r>
            <a:rPr lang="fr-FR" dirty="0" smtClean="0"/>
            <a:t> message</a:t>
          </a:r>
          <a:endParaRPr lang="fr-FR" dirty="0"/>
        </a:p>
      </dgm:t>
    </dgm:pt>
    <dgm:pt modelId="{59EF202E-01AF-4519-A74C-752D08EAE148}" type="parTrans" cxnId="{E8285157-663C-4956-AEF0-393EF07D4F1A}">
      <dgm:prSet/>
      <dgm:spPr/>
      <dgm:t>
        <a:bodyPr/>
        <a:lstStyle/>
        <a:p>
          <a:endParaRPr lang="fr-FR"/>
        </a:p>
      </dgm:t>
    </dgm:pt>
    <dgm:pt modelId="{D0BE0D07-E89D-45F2-B54D-461EA3E4C6AF}" type="sibTrans" cxnId="{E8285157-663C-4956-AEF0-393EF07D4F1A}">
      <dgm:prSet/>
      <dgm:spPr/>
      <dgm:t>
        <a:bodyPr/>
        <a:lstStyle/>
        <a:p>
          <a:endParaRPr lang="fr-FR"/>
        </a:p>
      </dgm:t>
    </dgm:pt>
    <dgm:pt modelId="{BA71F0ED-6A2D-48DB-8797-00B3C8315E23}">
      <dgm:prSet phldrT="[Texte]"/>
      <dgm:spPr/>
      <dgm:t>
        <a:bodyPr/>
        <a:lstStyle/>
        <a:p>
          <a:r>
            <a:rPr lang="fr-FR" dirty="0" smtClean="0"/>
            <a:t>Argument 1</a:t>
          </a:r>
          <a:endParaRPr lang="fr-FR" dirty="0"/>
        </a:p>
      </dgm:t>
    </dgm:pt>
    <dgm:pt modelId="{29E029BE-9FE5-4195-B644-E1077C87CDD7}" type="parTrans" cxnId="{C88ECFF3-8AF1-4FF7-A198-A1E9354A7B0C}">
      <dgm:prSet/>
      <dgm:spPr/>
      <dgm:t>
        <a:bodyPr/>
        <a:lstStyle/>
        <a:p>
          <a:endParaRPr lang="fr-FR"/>
        </a:p>
      </dgm:t>
    </dgm:pt>
    <dgm:pt modelId="{7C88830B-2270-4756-8C2F-483D7205556A}" type="sibTrans" cxnId="{C88ECFF3-8AF1-4FF7-A198-A1E9354A7B0C}">
      <dgm:prSet/>
      <dgm:spPr/>
      <dgm:t>
        <a:bodyPr/>
        <a:lstStyle/>
        <a:p>
          <a:endParaRPr lang="fr-FR"/>
        </a:p>
      </dgm:t>
    </dgm:pt>
    <dgm:pt modelId="{59B926E2-00CC-4EB4-B31E-905ADC39090E}">
      <dgm:prSet phldrT="[Texte]"/>
      <dgm:spPr/>
      <dgm:t>
        <a:bodyPr/>
        <a:lstStyle/>
        <a:p>
          <a:r>
            <a:rPr lang="fr-FR" dirty="0" smtClean="0"/>
            <a:t>Argument 2…</a:t>
          </a:r>
          <a:endParaRPr lang="fr-FR" dirty="0"/>
        </a:p>
      </dgm:t>
    </dgm:pt>
    <dgm:pt modelId="{A60B8049-1920-4057-AAB9-EE2B8129BDDB}" type="parTrans" cxnId="{74D4F16A-54E4-441B-989F-D6E236F9EBBD}">
      <dgm:prSet/>
      <dgm:spPr/>
      <dgm:t>
        <a:bodyPr/>
        <a:lstStyle/>
        <a:p>
          <a:endParaRPr lang="fr-FR"/>
        </a:p>
      </dgm:t>
    </dgm:pt>
    <dgm:pt modelId="{372FCA47-CD08-4E72-BE68-9DAEC479FC6B}" type="sibTrans" cxnId="{74D4F16A-54E4-441B-989F-D6E236F9EBBD}">
      <dgm:prSet/>
      <dgm:spPr/>
      <dgm:t>
        <a:bodyPr/>
        <a:lstStyle/>
        <a:p>
          <a:endParaRPr lang="fr-FR"/>
        </a:p>
      </dgm:t>
    </dgm:pt>
    <dgm:pt modelId="{C755BB40-73B9-4E0C-AC3E-AA1F72FECB43}">
      <dgm:prSet phldrT="[Texte]"/>
      <dgm:spPr/>
      <dgm:t>
        <a:bodyPr/>
        <a:lstStyle/>
        <a:p>
          <a:r>
            <a:rPr lang="fr-FR" dirty="0" smtClean="0"/>
            <a:t>2</a:t>
          </a:r>
          <a:r>
            <a:rPr lang="fr-FR" baseline="30000" dirty="0" smtClean="0"/>
            <a:t>ème</a:t>
          </a:r>
          <a:r>
            <a:rPr lang="fr-FR" dirty="0" smtClean="0"/>
            <a:t> message</a:t>
          </a:r>
          <a:endParaRPr lang="fr-FR" dirty="0"/>
        </a:p>
      </dgm:t>
    </dgm:pt>
    <dgm:pt modelId="{226FA574-4223-4DA1-B559-0E626AAFAA2D}" type="parTrans" cxnId="{539E6AF8-EF41-4198-A2D8-ACC3B77F6D9E}">
      <dgm:prSet/>
      <dgm:spPr/>
      <dgm:t>
        <a:bodyPr/>
        <a:lstStyle/>
        <a:p>
          <a:endParaRPr lang="fr-FR"/>
        </a:p>
      </dgm:t>
    </dgm:pt>
    <dgm:pt modelId="{CF9D72D6-11B7-4336-B6A0-C98EE4769F65}" type="sibTrans" cxnId="{539E6AF8-EF41-4198-A2D8-ACC3B77F6D9E}">
      <dgm:prSet/>
      <dgm:spPr/>
      <dgm:t>
        <a:bodyPr/>
        <a:lstStyle/>
        <a:p>
          <a:endParaRPr lang="fr-FR"/>
        </a:p>
      </dgm:t>
    </dgm:pt>
    <dgm:pt modelId="{C155F576-ABCA-4AAC-8986-52A83FA86BB1}">
      <dgm:prSet phldrT="[Texte]"/>
      <dgm:spPr/>
      <dgm:t>
        <a:bodyPr/>
        <a:lstStyle/>
        <a:p>
          <a:r>
            <a:rPr lang="fr-FR" smtClean="0"/>
            <a:t>Argument 1</a:t>
          </a:r>
          <a:endParaRPr lang="fr-FR" dirty="0"/>
        </a:p>
      </dgm:t>
    </dgm:pt>
    <dgm:pt modelId="{F7DAADC8-2129-4A34-A557-8D0FB200E31A}" type="parTrans" cxnId="{78ACADA3-1389-4C8A-AF2C-C929BD48FBF8}">
      <dgm:prSet/>
      <dgm:spPr/>
      <dgm:t>
        <a:bodyPr/>
        <a:lstStyle/>
        <a:p>
          <a:endParaRPr lang="fr-FR"/>
        </a:p>
      </dgm:t>
    </dgm:pt>
    <dgm:pt modelId="{51C1E9D4-68B0-4A31-B548-182073281F29}" type="sibTrans" cxnId="{78ACADA3-1389-4C8A-AF2C-C929BD48FBF8}">
      <dgm:prSet/>
      <dgm:spPr/>
      <dgm:t>
        <a:bodyPr/>
        <a:lstStyle/>
        <a:p>
          <a:endParaRPr lang="fr-FR"/>
        </a:p>
      </dgm:t>
    </dgm:pt>
    <dgm:pt modelId="{6486AA7E-016F-4782-AC9D-6E56E9A25FA6}">
      <dgm:prSet phldrT="[Texte]"/>
      <dgm:spPr/>
      <dgm:t>
        <a:bodyPr/>
        <a:lstStyle/>
        <a:p>
          <a:r>
            <a:rPr lang="fr-FR" dirty="0" smtClean="0"/>
            <a:t>3</a:t>
          </a:r>
          <a:r>
            <a:rPr lang="fr-FR" baseline="30000" dirty="0" smtClean="0"/>
            <a:t>ème</a:t>
          </a:r>
          <a:r>
            <a:rPr lang="fr-FR" dirty="0" smtClean="0"/>
            <a:t> message</a:t>
          </a:r>
          <a:endParaRPr lang="fr-FR" dirty="0"/>
        </a:p>
      </dgm:t>
    </dgm:pt>
    <dgm:pt modelId="{D919B117-08E3-4203-AB3C-045E22C4EE43}" type="parTrans" cxnId="{42EF3B4B-1E40-4179-A2D6-23BE54962608}">
      <dgm:prSet/>
      <dgm:spPr/>
      <dgm:t>
        <a:bodyPr/>
        <a:lstStyle/>
        <a:p>
          <a:endParaRPr lang="fr-FR"/>
        </a:p>
      </dgm:t>
    </dgm:pt>
    <dgm:pt modelId="{9E37B225-4862-4C18-89BA-AB2A3D3A1C0A}" type="sibTrans" cxnId="{42EF3B4B-1E40-4179-A2D6-23BE54962608}">
      <dgm:prSet/>
      <dgm:spPr/>
      <dgm:t>
        <a:bodyPr/>
        <a:lstStyle/>
        <a:p>
          <a:endParaRPr lang="fr-FR"/>
        </a:p>
      </dgm:t>
    </dgm:pt>
    <dgm:pt modelId="{CAA08CE8-5583-4C91-B261-E6A7D0A45D28}">
      <dgm:prSet phldrT="[Texte]"/>
      <dgm:spPr/>
      <dgm:t>
        <a:bodyPr/>
        <a:lstStyle/>
        <a:p>
          <a:r>
            <a:rPr lang="fr-FR" smtClean="0"/>
            <a:t>Argument 1</a:t>
          </a:r>
          <a:endParaRPr lang="fr-FR" dirty="0"/>
        </a:p>
      </dgm:t>
    </dgm:pt>
    <dgm:pt modelId="{6BCF743B-C34D-4949-88FD-E1018C842784}" type="parTrans" cxnId="{BCF59FB0-0FC8-470E-99E8-2EDFE4F3B7DD}">
      <dgm:prSet/>
      <dgm:spPr/>
      <dgm:t>
        <a:bodyPr/>
        <a:lstStyle/>
        <a:p>
          <a:endParaRPr lang="fr-FR"/>
        </a:p>
      </dgm:t>
    </dgm:pt>
    <dgm:pt modelId="{841D3BC0-1829-4D61-9BF6-36775954C078}" type="sibTrans" cxnId="{BCF59FB0-0FC8-470E-99E8-2EDFE4F3B7DD}">
      <dgm:prSet/>
      <dgm:spPr/>
      <dgm:t>
        <a:bodyPr/>
        <a:lstStyle/>
        <a:p>
          <a:endParaRPr lang="fr-FR"/>
        </a:p>
      </dgm:t>
    </dgm:pt>
    <dgm:pt modelId="{C1214C3D-664A-4D29-A35F-35381C1D4357}">
      <dgm:prSet phldrT="[Texte]"/>
      <dgm:spPr/>
      <dgm:t>
        <a:bodyPr/>
        <a:lstStyle/>
        <a:p>
          <a:r>
            <a:rPr lang="fr-FR" dirty="0" smtClean="0"/>
            <a:t>4</a:t>
          </a:r>
          <a:r>
            <a:rPr lang="fr-FR" baseline="30000" dirty="0" smtClean="0"/>
            <a:t>ème</a:t>
          </a:r>
          <a:r>
            <a:rPr lang="fr-FR" dirty="0" smtClean="0"/>
            <a:t> message</a:t>
          </a:r>
          <a:endParaRPr lang="fr-FR" dirty="0"/>
        </a:p>
      </dgm:t>
    </dgm:pt>
    <dgm:pt modelId="{67552DB1-F8F8-4F21-B692-E7CD790063FE}" type="parTrans" cxnId="{A0D6F9C6-B0AA-43A8-BAA7-05B0B910F7E4}">
      <dgm:prSet/>
      <dgm:spPr/>
      <dgm:t>
        <a:bodyPr/>
        <a:lstStyle/>
        <a:p>
          <a:endParaRPr lang="fr-FR"/>
        </a:p>
      </dgm:t>
    </dgm:pt>
    <dgm:pt modelId="{8A9BDBB4-7EAE-4183-A1D9-3AB7039C1D80}" type="sibTrans" cxnId="{A0D6F9C6-B0AA-43A8-BAA7-05B0B910F7E4}">
      <dgm:prSet/>
      <dgm:spPr/>
      <dgm:t>
        <a:bodyPr/>
        <a:lstStyle/>
        <a:p>
          <a:endParaRPr lang="fr-FR"/>
        </a:p>
      </dgm:t>
    </dgm:pt>
    <dgm:pt modelId="{46882C11-AD09-4294-8B1D-21A7C7A69292}">
      <dgm:prSet phldrT="[Texte]"/>
      <dgm:spPr/>
      <dgm:t>
        <a:bodyPr/>
        <a:lstStyle/>
        <a:p>
          <a:r>
            <a:rPr lang="fr-FR" dirty="0" smtClean="0"/>
            <a:t>Argument 1</a:t>
          </a:r>
          <a:endParaRPr lang="fr-FR" dirty="0"/>
        </a:p>
      </dgm:t>
    </dgm:pt>
    <dgm:pt modelId="{8F2B68E0-6BE7-4102-8953-43543A50A348}" type="parTrans" cxnId="{081742EB-B99A-424E-BCAE-97CED5257250}">
      <dgm:prSet/>
      <dgm:spPr/>
      <dgm:t>
        <a:bodyPr/>
        <a:lstStyle/>
        <a:p>
          <a:endParaRPr lang="fr-FR"/>
        </a:p>
      </dgm:t>
    </dgm:pt>
    <dgm:pt modelId="{2866EAA7-BEC3-4731-8886-ACD17BB3D842}" type="sibTrans" cxnId="{081742EB-B99A-424E-BCAE-97CED5257250}">
      <dgm:prSet/>
      <dgm:spPr/>
      <dgm:t>
        <a:bodyPr/>
        <a:lstStyle/>
        <a:p>
          <a:endParaRPr lang="fr-FR"/>
        </a:p>
      </dgm:t>
    </dgm:pt>
    <dgm:pt modelId="{E8DB0A4C-F587-4036-B67E-9B137F70B661}">
      <dgm:prSet/>
      <dgm:spPr/>
      <dgm:t>
        <a:bodyPr/>
        <a:lstStyle/>
        <a:p>
          <a:r>
            <a:rPr lang="fr-FR" dirty="0" smtClean="0"/>
            <a:t>Argument 2…</a:t>
          </a:r>
          <a:endParaRPr lang="fr-FR" dirty="0"/>
        </a:p>
      </dgm:t>
    </dgm:pt>
    <dgm:pt modelId="{0D933760-B313-4180-A092-1D6525EA19B8}" type="parTrans" cxnId="{5FC4408B-28A6-4726-9468-17E005881597}">
      <dgm:prSet/>
      <dgm:spPr/>
      <dgm:t>
        <a:bodyPr/>
        <a:lstStyle/>
        <a:p>
          <a:endParaRPr lang="fr-FR"/>
        </a:p>
      </dgm:t>
    </dgm:pt>
    <dgm:pt modelId="{12B0310B-9CE2-4BC2-9292-196BDEA926DD}" type="sibTrans" cxnId="{5FC4408B-28A6-4726-9468-17E005881597}">
      <dgm:prSet/>
      <dgm:spPr/>
      <dgm:t>
        <a:bodyPr/>
        <a:lstStyle/>
        <a:p>
          <a:endParaRPr lang="fr-FR"/>
        </a:p>
      </dgm:t>
    </dgm:pt>
    <dgm:pt modelId="{CCC821F5-4874-4078-9570-52F4EE443DA7}">
      <dgm:prSet/>
      <dgm:spPr/>
      <dgm:t>
        <a:bodyPr/>
        <a:lstStyle/>
        <a:p>
          <a:r>
            <a:rPr lang="fr-FR" dirty="0" smtClean="0"/>
            <a:t>Argument 2…</a:t>
          </a:r>
          <a:endParaRPr lang="fr-FR" dirty="0"/>
        </a:p>
      </dgm:t>
    </dgm:pt>
    <dgm:pt modelId="{C119006E-65AA-4CEA-91D3-FF4799799C23}" type="parTrans" cxnId="{862250E1-82A2-40DB-ACBF-88B1CC9E6098}">
      <dgm:prSet/>
      <dgm:spPr/>
      <dgm:t>
        <a:bodyPr/>
        <a:lstStyle/>
        <a:p>
          <a:endParaRPr lang="fr-FR"/>
        </a:p>
      </dgm:t>
    </dgm:pt>
    <dgm:pt modelId="{02AEB668-4693-4A6B-83DA-30E0740CBBF7}" type="sibTrans" cxnId="{862250E1-82A2-40DB-ACBF-88B1CC9E6098}">
      <dgm:prSet/>
      <dgm:spPr/>
      <dgm:t>
        <a:bodyPr/>
        <a:lstStyle/>
        <a:p>
          <a:endParaRPr lang="fr-FR"/>
        </a:p>
      </dgm:t>
    </dgm:pt>
    <dgm:pt modelId="{90E3E288-0C06-439D-BC1D-C09EB85D804D}">
      <dgm:prSet/>
      <dgm:spPr/>
      <dgm:t>
        <a:bodyPr/>
        <a:lstStyle/>
        <a:p>
          <a:r>
            <a:rPr lang="fr-FR" dirty="0" smtClean="0"/>
            <a:t>Argument 2…</a:t>
          </a:r>
          <a:endParaRPr lang="fr-FR" dirty="0"/>
        </a:p>
      </dgm:t>
    </dgm:pt>
    <dgm:pt modelId="{019C5B30-3503-4CC9-BD92-773DF3612496}" type="parTrans" cxnId="{94EA17A6-D256-4A4D-A724-FDFEC5C915BB}">
      <dgm:prSet/>
      <dgm:spPr/>
      <dgm:t>
        <a:bodyPr/>
        <a:lstStyle/>
        <a:p>
          <a:endParaRPr lang="fr-FR"/>
        </a:p>
      </dgm:t>
    </dgm:pt>
    <dgm:pt modelId="{9CE0CB53-1828-40A7-A4E8-20953D4469D4}" type="sibTrans" cxnId="{94EA17A6-D256-4A4D-A724-FDFEC5C915BB}">
      <dgm:prSet/>
      <dgm:spPr/>
      <dgm:t>
        <a:bodyPr/>
        <a:lstStyle/>
        <a:p>
          <a:endParaRPr lang="fr-FR"/>
        </a:p>
      </dgm:t>
    </dgm:pt>
    <dgm:pt modelId="{4E3981BC-E9B0-4837-9738-0E2067746E2E}">
      <dgm:prSet/>
      <dgm:spPr/>
      <dgm:t>
        <a:bodyPr/>
        <a:lstStyle/>
        <a:p>
          <a:r>
            <a:rPr lang="fr-FR" dirty="0" smtClean="0"/>
            <a:t>Compléter…</a:t>
          </a:r>
          <a:endParaRPr lang="fr-FR" dirty="0"/>
        </a:p>
      </dgm:t>
    </dgm:pt>
    <dgm:pt modelId="{760A5BC2-D34B-43EB-B28C-E0B4FA023A18}" type="parTrans" cxnId="{1B17B9B7-6C9D-46FB-8EC1-9C91A0E18FD1}">
      <dgm:prSet/>
      <dgm:spPr/>
      <dgm:t>
        <a:bodyPr/>
        <a:lstStyle/>
        <a:p>
          <a:endParaRPr lang="fr-FR"/>
        </a:p>
      </dgm:t>
    </dgm:pt>
    <dgm:pt modelId="{5B2B2FAD-E5FC-4700-A284-0EEC79C64D85}" type="sibTrans" cxnId="{1B17B9B7-6C9D-46FB-8EC1-9C91A0E18FD1}">
      <dgm:prSet/>
      <dgm:spPr/>
      <dgm:t>
        <a:bodyPr/>
        <a:lstStyle/>
        <a:p>
          <a:endParaRPr lang="fr-FR"/>
        </a:p>
      </dgm:t>
    </dgm:pt>
    <dgm:pt modelId="{89341006-04FE-4BA0-A2CA-C82D4D7D4637}" type="pres">
      <dgm:prSet presAssocID="{89026A2A-0635-4165-86AF-FEC40A412D6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2AAB9FAD-3E39-4619-984A-E46E86CC477B}" type="pres">
      <dgm:prSet presAssocID="{2D1D5459-7480-42A6-B4DA-ADA363A2247A}" presName="linNode" presStyleCnt="0"/>
      <dgm:spPr/>
    </dgm:pt>
    <dgm:pt modelId="{F569545F-A1F4-4EAE-9EEC-5A573C80D519}" type="pres">
      <dgm:prSet presAssocID="{2D1D5459-7480-42A6-B4DA-ADA363A2247A}" presName="parentText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37A446B-7A25-40B6-9942-C23418DCAA8C}" type="pres">
      <dgm:prSet presAssocID="{2D1D5459-7480-42A6-B4DA-ADA363A2247A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CBA4251-335A-4132-BE47-0D2C5BF06C85}" type="pres">
      <dgm:prSet presAssocID="{D0BE0D07-E89D-45F2-B54D-461EA3E4C6AF}" presName="sp" presStyleCnt="0"/>
      <dgm:spPr/>
    </dgm:pt>
    <dgm:pt modelId="{1C8A8970-6504-4E03-9B4D-F52A64CC19C1}" type="pres">
      <dgm:prSet presAssocID="{C755BB40-73B9-4E0C-AC3E-AA1F72FECB43}" presName="linNode" presStyleCnt="0"/>
      <dgm:spPr/>
    </dgm:pt>
    <dgm:pt modelId="{F06E9053-FB6B-4E2E-B7F6-75EC2CBFAB0A}" type="pres">
      <dgm:prSet presAssocID="{C755BB40-73B9-4E0C-AC3E-AA1F72FECB43}" presName="parentText" presStyleLbl="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0033ABC-3B86-4C34-A6A6-6D1910B0AEF1}" type="pres">
      <dgm:prSet presAssocID="{C755BB40-73B9-4E0C-AC3E-AA1F72FECB43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9AD02C5-70EC-471C-B7CC-B42D279975AD}" type="pres">
      <dgm:prSet presAssocID="{CF9D72D6-11B7-4336-B6A0-C98EE4769F65}" presName="sp" presStyleCnt="0"/>
      <dgm:spPr/>
    </dgm:pt>
    <dgm:pt modelId="{A74456EE-861F-45C2-87F8-B1FA519F633D}" type="pres">
      <dgm:prSet presAssocID="{6486AA7E-016F-4782-AC9D-6E56E9A25FA6}" presName="linNode" presStyleCnt="0"/>
      <dgm:spPr/>
    </dgm:pt>
    <dgm:pt modelId="{73F88056-CC1B-425A-AC71-6F207175C8B3}" type="pres">
      <dgm:prSet presAssocID="{6486AA7E-016F-4782-AC9D-6E56E9A25FA6}" presName="parentText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E0E5133-EFA3-40AA-B690-70FB7DFF9923}" type="pres">
      <dgm:prSet presAssocID="{6486AA7E-016F-4782-AC9D-6E56E9A25FA6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0C2A69B-F0F0-4F30-9226-E99588E34928}" type="pres">
      <dgm:prSet presAssocID="{9E37B225-4862-4C18-89BA-AB2A3D3A1C0A}" presName="sp" presStyleCnt="0"/>
      <dgm:spPr/>
    </dgm:pt>
    <dgm:pt modelId="{B218FC67-F16F-4710-9AE6-602AE93A99A3}" type="pres">
      <dgm:prSet presAssocID="{C1214C3D-664A-4D29-A35F-35381C1D4357}" presName="linNode" presStyleCnt="0"/>
      <dgm:spPr/>
    </dgm:pt>
    <dgm:pt modelId="{7553060D-A988-4BA7-879F-4F9450E26B8D}" type="pres">
      <dgm:prSet presAssocID="{C1214C3D-664A-4D29-A35F-35381C1D4357}" presName="parentText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AE0A23F-B5E9-4AE2-A365-94A215F385DC}" type="pres">
      <dgm:prSet presAssocID="{C1214C3D-664A-4D29-A35F-35381C1D4357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BC4398C-CBFC-47F6-8741-BE615DE78B80}" type="pres">
      <dgm:prSet presAssocID="{8A9BDBB4-7EAE-4183-A1D9-3AB7039C1D80}" presName="sp" presStyleCnt="0"/>
      <dgm:spPr/>
    </dgm:pt>
    <dgm:pt modelId="{6621432A-7A50-4CE1-9EB9-7747CC1FEC11}" type="pres">
      <dgm:prSet presAssocID="{4E3981BC-E9B0-4837-9738-0E2067746E2E}" presName="linNode" presStyleCnt="0"/>
      <dgm:spPr/>
    </dgm:pt>
    <dgm:pt modelId="{D38F2EFA-306E-4D2D-80BC-25548EDC810C}" type="pres">
      <dgm:prSet presAssocID="{4E3981BC-E9B0-4837-9738-0E2067746E2E}" presName="parentText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B17B9B7-6C9D-46FB-8EC1-9C91A0E18FD1}" srcId="{89026A2A-0635-4165-86AF-FEC40A412D6D}" destId="{4E3981BC-E9B0-4837-9738-0E2067746E2E}" srcOrd="4" destOrd="0" parTransId="{760A5BC2-D34B-43EB-B28C-E0B4FA023A18}" sibTransId="{5B2B2FAD-E5FC-4700-A284-0EEC79C64D85}"/>
    <dgm:cxn modelId="{36338DDC-E4CB-4CCF-8A87-36555B501284}" type="presOf" srcId="{2D1D5459-7480-42A6-B4DA-ADA363A2247A}" destId="{F569545F-A1F4-4EAE-9EEC-5A573C80D519}" srcOrd="0" destOrd="0" presId="urn:microsoft.com/office/officeart/2005/8/layout/vList5"/>
    <dgm:cxn modelId="{095FE441-0225-4F2D-95E8-92D1D353F75A}" type="presOf" srcId="{90E3E288-0C06-439D-BC1D-C09EB85D804D}" destId="{2AE0A23F-B5E9-4AE2-A365-94A215F385DC}" srcOrd="0" destOrd="1" presId="urn:microsoft.com/office/officeart/2005/8/layout/vList5"/>
    <dgm:cxn modelId="{4A81FFC9-DB5A-4024-942F-A9E5119E1EC8}" type="presOf" srcId="{CAA08CE8-5583-4C91-B261-E6A7D0A45D28}" destId="{CE0E5133-EFA3-40AA-B690-70FB7DFF9923}" srcOrd="0" destOrd="0" presId="urn:microsoft.com/office/officeart/2005/8/layout/vList5"/>
    <dgm:cxn modelId="{E8285157-663C-4956-AEF0-393EF07D4F1A}" srcId="{89026A2A-0635-4165-86AF-FEC40A412D6D}" destId="{2D1D5459-7480-42A6-B4DA-ADA363A2247A}" srcOrd="0" destOrd="0" parTransId="{59EF202E-01AF-4519-A74C-752D08EAE148}" sibTransId="{D0BE0D07-E89D-45F2-B54D-461EA3E4C6AF}"/>
    <dgm:cxn modelId="{C88ECFF3-8AF1-4FF7-A198-A1E9354A7B0C}" srcId="{2D1D5459-7480-42A6-B4DA-ADA363A2247A}" destId="{BA71F0ED-6A2D-48DB-8797-00B3C8315E23}" srcOrd="0" destOrd="0" parTransId="{29E029BE-9FE5-4195-B644-E1077C87CDD7}" sibTransId="{7C88830B-2270-4756-8C2F-483D7205556A}"/>
    <dgm:cxn modelId="{611DD58E-B4ED-40BA-9F86-572875C750C4}" type="presOf" srcId="{4E3981BC-E9B0-4837-9738-0E2067746E2E}" destId="{D38F2EFA-306E-4D2D-80BC-25548EDC810C}" srcOrd="0" destOrd="0" presId="urn:microsoft.com/office/officeart/2005/8/layout/vList5"/>
    <dgm:cxn modelId="{78ACADA3-1389-4C8A-AF2C-C929BD48FBF8}" srcId="{C755BB40-73B9-4E0C-AC3E-AA1F72FECB43}" destId="{C155F576-ABCA-4AAC-8986-52A83FA86BB1}" srcOrd="0" destOrd="0" parTransId="{F7DAADC8-2129-4A34-A557-8D0FB200E31A}" sibTransId="{51C1E9D4-68B0-4A31-B548-182073281F29}"/>
    <dgm:cxn modelId="{52A93E3A-26BD-414D-BD59-67AB9C514A2C}" type="presOf" srcId="{46882C11-AD09-4294-8B1D-21A7C7A69292}" destId="{2AE0A23F-B5E9-4AE2-A365-94A215F385DC}" srcOrd="0" destOrd="0" presId="urn:microsoft.com/office/officeart/2005/8/layout/vList5"/>
    <dgm:cxn modelId="{54C11657-F129-42BC-A5E5-2D5BF260C032}" type="presOf" srcId="{E8DB0A4C-F587-4036-B67E-9B137F70B661}" destId="{E0033ABC-3B86-4C34-A6A6-6D1910B0AEF1}" srcOrd="0" destOrd="1" presId="urn:microsoft.com/office/officeart/2005/8/layout/vList5"/>
    <dgm:cxn modelId="{74D4F16A-54E4-441B-989F-D6E236F9EBBD}" srcId="{2D1D5459-7480-42A6-B4DA-ADA363A2247A}" destId="{59B926E2-00CC-4EB4-B31E-905ADC39090E}" srcOrd="1" destOrd="0" parTransId="{A60B8049-1920-4057-AAB9-EE2B8129BDDB}" sibTransId="{372FCA47-CD08-4E72-BE68-9DAEC479FC6B}"/>
    <dgm:cxn modelId="{081742EB-B99A-424E-BCAE-97CED5257250}" srcId="{C1214C3D-664A-4D29-A35F-35381C1D4357}" destId="{46882C11-AD09-4294-8B1D-21A7C7A69292}" srcOrd="0" destOrd="0" parTransId="{8F2B68E0-6BE7-4102-8953-43543A50A348}" sibTransId="{2866EAA7-BEC3-4731-8886-ACD17BB3D842}"/>
    <dgm:cxn modelId="{33B007D1-0E2A-4266-9D6F-84CCCB8EDE2D}" type="presOf" srcId="{C755BB40-73B9-4E0C-AC3E-AA1F72FECB43}" destId="{F06E9053-FB6B-4E2E-B7F6-75EC2CBFAB0A}" srcOrd="0" destOrd="0" presId="urn:microsoft.com/office/officeart/2005/8/layout/vList5"/>
    <dgm:cxn modelId="{42EF3B4B-1E40-4179-A2D6-23BE54962608}" srcId="{89026A2A-0635-4165-86AF-FEC40A412D6D}" destId="{6486AA7E-016F-4782-AC9D-6E56E9A25FA6}" srcOrd="2" destOrd="0" parTransId="{D919B117-08E3-4203-AB3C-045E22C4EE43}" sibTransId="{9E37B225-4862-4C18-89BA-AB2A3D3A1C0A}"/>
    <dgm:cxn modelId="{EB813BCE-CC79-4E5C-9BCC-7F54ACA80060}" type="presOf" srcId="{C1214C3D-664A-4D29-A35F-35381C1D4357}" destId="{7553060D-A988-4BA7-879F-4F9450E26B8D}" srcOrd="0" destOrd="0" presId="urn:microsoft.com/office/officeart/2005/8/layout/vList5"/>
    <dgm:cxn modelId="{83174421-0ACA-4133-A797-C591C157F671}" type="presOf" srcId="{59B926E2-00CC-4EB4-B31E-905ADC39090E}" destId="{037A446B-7A25-40B6-9942-C23418DCAA8C}" srcOrd="0" destOrd="1" presId="urn:microsoft.com/office/officeart/2005/8/layout/vList5"/>
    <dgm:cxn modelId="{94EA17A6-D256-4A4D-A724-FDFEC5C915BB}" srcId="{C1214C3D-664A-4D29-A35F-35381C1D4357}" destId="{90E3E288-0C06-439D-BC1D-C09EB85D804D}" srcOrd="1" destOrd="0" parTransId="{019C5B30-3503-4CC9-BD92-773DF3612496}" sibTransId="{9CE0CB53-1828-40A7-A4E8-20953D4469D4}"/>
    <dgm:cxn modelId="{4C8573D9-3030-46B8-B375-5BFF0FBC1E9E}" type="presOf" srcId="{BA71F0ED-6A2D-48DB-8797-00B3C8315E23}" destId="{037A446B-7A25-40B6-9942-C23418DCAA8C}" srcOrd="0" destOrd="0" presId="urn:microsoft.com/office/officeart/2005/8/layout/vList5"/>
    <dgm:cxn modelId="{862250E1-82A2-40DB-ACBF-88B1CC9E6098}" srcId="{6486AA7E-016F-4782-AC9D-6E56E9A25FA6}" destId="{CCC821F5-4874-4078-9570-52F4EE443DA7}" srcOrd="1" destOrd="0" parTransId="{C119006E-65AA-4CEA-91D3-FF4799799C23}" sibTransId="{02AEB668-4693-4A6B-83DA-30E0740CBBF7}"/>
    <dgm:cxn modelId="{BCF59FB0-0FC8-470E-99E8-2EDFE4F3B7DD}" srcId="{6486AA7E-016F-4782-AC9D-6E56E9A25FA6}" destId="{CAA08CE8-5583-4C91-B261-E6A7D0A45D28}" srcOrd="0" destOrd="0" parTransId="{6BCF743B-C34D-4949-88FD-E1018C842784}" sibTransId="{841D3BC0-1829-4D61-9BF6-36775954C078}"/>
    <dgm:cxn modelId="{EDAB5F35-EEAD-451B-9E02-F7FC981544A0}" type="presOf" srcId="{C155F576-ABCA-4AAC-8986-52A83FA86BB1}" destId="{E0033ABC-3B86-4C34-A6A6-6D1910B0AEF1}" srcOrd="0" destOrd="0" presId="urn:microsoft.com/office/officeart/2005/8/layout/vList5"/>
    <dgm:cxn modelId="{539E6AF8-EF41-4198-A2D8-ACC3B77F6D9E}" srcId="{89026A2A-0635-4165-86AF-FEC40A412D6D}" destId="{C755BB40-73B9-4E0C-AC3E-AA1F72FECB43}" srcOrd="1" destOrd="0" parTransId="{226FA574-4223-4DA1-B559-0E626AAFAA2D}" sibTransId="{CF9D72D6-11B7-4336-B6A0-C98EE4769F65}"/>
    <dgm:cxn modelId="{A0D6F9C6-B0AA-43A8-BAA7-05B0B910F7E4}" srcId="{89026A2A-0635-4165-86AF-FEC40A412D6D}" destId="{C1214C3D-664A-4D29-A35F-35381C1D4357}" srcOrd="3" destOrd="0" parTransId="{67552DB1-F8F8-4F21-B692-E7CD790063FE}" sibTransId="{8A9BDBB4-7EAE-4183-A1D9-3AB7039C1D80}"/>
    <dgm:cxn modelId="{97BBBCEB-016E-425F-8A51-8A44C2F3ED99}" type="presOf" srcId="{6486AA7E-016F-4782-AC9D-6E56E9A25FA6}" destId="{73F88056-CC1B-425A-AC71-6F207175C8B3}" srcOrd="0" destOrd="0" presId="urn:microsoft.com/office/officeart/2005/8/layout/vList5"/>
    <dgm:cxn modelId="{5FC4408B-28A6-4726-9468-17E005881597}" srcId="{C755BB40-73B9-4E0C-AC3E-AA1F72FECB43}" destId="{E8DB0A4C-F587-4036-B67E-9B137F70B661}" srcOrd="1" destOrd="0" parTransId="{0D933760-B313-4180-A092-1D6525EA19B8}" sibTransId="{12B0310B-9CE2-4BC2-9292-196BDEA926DD}"/>
    <dgm:cxn modelId="{5BC760D2-E908-47B1-A142-EBB09FB6F7D2}" type="presOf" srcId="{CCC821F5-4874-4078-9570-52F4EE443DA7}" destId="{CE0E5133-EFA3-40AA-B690-70FB7DFF9923}" srcOrd="0" destOrd="1" presId="urn:microsoft.com/office/officeart/2005/8/layout/vList5"/>
    <dgm:cxn modelId="{754A5330-EEB5-4980-898B-7FD046EC63AA}" type="presOf" srcId="{89026A2A-0635-4165-86AF-FEC40A412D6D}" destId="{89341006-04FE-4BA0-A2CA-C82D4D7D4637}" srcOrd="0" destOrd="0" presId="urn:microsoft.com/office/officeart/2005/8/layout/vList5"/>
    <dgm:cxn modelId="{37D9D08D-9113-4B66-888E-F00678452343}" type="presParOf" srcId="{89341006-04FE-4BA0-A2CA-C82D4D7D4637}" destId="{2AAB9FAD-3E39-4619-984A-E46E86CC477B}" srcOrd="0" destOrd="0" presId="urn:microsoft.com/office/officeart/2005/8/layout/vList5"/>
    <dgm:cxn modelId="{B31EC076-AEBA-474C-AA4E-531B2B76F156}" type="presParOf" srcId="{2AAB9FAD-3E39-4619-984A-E46E86CC477B}" destId="{F569545F-A1F4-4EAE-9EEC-5A573C80D519}" srcOrd="0" destOrd="0" presId="urn:microsoft.com/office/officeart/2005/8/layout/vList5"/>
    <dgm:cxn modelId="{F54E2F9B-FBDB-40B6-A0C9-256A467F45C0}" type="presParOf" srcId="{2AAB9FAD-3E39-4619-984A-E46E86CC477B}" destId="{037A446B-7A25-40B6-9942-C23418DCAA8C}" srcOrd="1" destOrd="0" presId="urn:microsoft.com/office/officeart/2005/8/layout/vList5"/>
    <dgm:cxn modelId="{6D1CE85B-832D-443B-BF1E-FF9BDB40DC44}" type="presParOf" srcId="{89341006-04FE-4BA0-A2CA-C82D4D7D4637}" destId="{ACBA4251-335A-4132-BE47-0D2C5BF06C85}" srcOrd="1" destOrd="0" presId="urn:microsoft.com/office/officeart/2005/8/layout/vList5"/>
    <dgm:cxn modelId="{253284C2-1D7F-426B-963A-C44E221068DE}" type="presParOf" srcId="{89341006-04FE-4BA0-A2CA-C82D4D7D4637}" destId="{1C8A8970-6504-4E03-9B4D-F52A64CC19C1}" srcOrd="2" destOrd="0" presId="urn:microsoft.com/office/officeart/2005/8/layout/vList5"/>
    <dgm:cxn modelId="{BDC93D40-8803-4E25-ACF2-1CE065B86FC4}" type="presParOf" srcId="{1C8A8970-6504-4E03-9B4D-F52A64CC19C1}" destId="{F06E9053-FB6B-4E2E-B7F6-75EC2CBFAB0A}" srcOrd="0" destOrd="0" presId="urn:microsoft.com/office/officeart/2005/8/layout/vList5"/>
    <dgm:cxn modelId="{BE2D2E20-C7D0-4AC4-A0C2-8E9E62A72F47}" type="presParOf" srcId="{1C8A8970-6504-4E03-9B4D-F52A64CC19C1}" destId="{E0033ABC-3B86-4C34-A6A6-6D1910B0AEF1}" srcOrd="1" destOrd="0" presId="urn:microsoft.com/office/officeart/2005/8/layout/vList5"/>
    <dgm:cxn modelId="{C972F279-1605-4B17-AE28-4CC8706C86A3}" type="presParOf" srcId="{89341006-04FE-4BA0-A2CA-C82D4D7D4637}" destId="{69AD02C5-70EC-471C-B7CC-B42D279975AD}" srcOrd="3" destOrd="0" presId="urn:microsoft.com/office/officeart/2005/8/layout/vList5"/>
    <dgm:cxn modelId="{A9EC3D83-5A11-4632-B197-A54AED76E2CF}" type="presParOf" srcId="{89341006-04FE-4BA0-A2CA-C82D4D7D4637}" destId="{A74456EE-861F-45C2-87F8-B1FA519F633D}" srcOrd="4" destOrd="0" presId="urn:microsoft.com/office/officeart/2005/8/layout/vList5"/>
    <dgm:cxn modelId="{24F6EC3D-58E9-4879-9A86-12B5D566D65B}" type="presParOf" srcId="{A74456EE-861F-45C2-87F8-B1FA519F633D}" destId="{73F88056-CC1B-425A-AC71-6F207175C8B3}" srcOrd="0" destOrd="0" presId="urn:microsoft.com/office/officeart/2005/8/layout/vList5"/>
    <dgm:cxn modelId="{D7E93219-23F9-4460-9DFE-45B2B1D32AE2}" type="presParOf" srcId="{A74456EE-861F-45C2-87F8-B1FA519F633D}" destId="{CE0E5133-EFA3-40AA-B690-70FB7DFF9923}" srcOrd="1" destOrd="0" presId="urn:microsoft.com/office/officeart/2005/8/layout/vList5"/>
    <dgm:cxn modelId="{E5C7D3F1-F58E-4843-94C5-50BD55DA6CD9}" type="presParOf" srcId="{89341006-04FE-4BA0-A2CA-C82D4D7D4637}" destId="{30C2A69B-F0F0-4F30-9226-E99588E34928}" srcOrd="5" destOrd="0" presId="urn:microsoft.com/office/officeart/2005/8/layout/vList5"/>
    <dgm:cxn modelId="{251E9939-6F36-4182-8E4B-1A5FB2B8F641}" type="presParOf" srcId="{89341006-04FE-4BA0-A2CA-C82D4D7D4637}" destId="{B218FC67-F16F-4710-9AE6-602AE93A99A3}" srcOrd="6" destOrd="0" presId="urn:microsoft.com/office/officeart/2005/8/layout/vList5"/>
    <dgm:cxn modelId="{A573B4B7-0234-4D6A-AFB5-48D008843995}" type="presParOf" srcId="{B218FC67-F16F-4710-9AE6-602AE93A99A3}" destId="{7553060D-A988-4BA7-879F-4F9450E26B8D}" srcOrd="0" destOrd="0" presId="urn:microsoft.com/office/officeart/2005/8/layout/vList5"/>
    <dgm:cxn modelId="{BE97A5C1-2797-4A07-A0D1-C5A9543A19C7}" type="presParOf" srcId="{B218FC67-F16F-4710-9AE6-602AE93A99A3}" destId="{2AE0A23F-B5E9-4AE2-A365-94A215F385DC}" srcOrd="1" destOrd="0" presId="urn:microsoft.com/office/officeart/2005/8/layout/vList5"/>
    <dgm:cxn modelId="{68A7CCDF-3DF4-433A-BBBF-7D26E1B2454E}" type="presParOf" srcId="{89341006-04FE-4BA0-A2CA-C82D4D7D4637}" destId="{2BC4398C-CBFC-47F6-8741-BE615DE78B80}" srcOrd="7" destOrd="0" presId="urn:microsoft.com/office/officeart/2005/8/layout/vList5"/>
    <dgm:cxn modelId="{C6A376BC-EDC8-4FAB-AD7D-82013B1607ED}" type="presParOf" srcId="{89341006-04FE-4BA0-A2CA-C82D4D7D4637}" destId="{6621432A-7A50-4CE1-9EB9-7747CC1FEC11}" srcOrd="8" destOrd="0" presId="urn:microsoft.com/office/officeart/2005/8/layout/vList5"/>
    <dgm:cxn modelId="{94611835-061F-4062-8C3A-597685F4736D}" type="presParOf" srcId="{6621432A-7A50-4CE1-9EB9-7747CC1FEC11}" destId="{D38F2EFA-306E-4D2D-80BC-25548EDC810C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9026A2A-0635-4165-86AF-FEC40A412D6D}" type="doc">
      <dgm:prSet loTypeId="urn:microsoft.com/office/officeart/2005/8/layout/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fr-FR"/>
        </a:p>
      </dgm:t>
    </dgm:pt>
    <dgm:pt modelId="{2D1D5459-7480-42A6-B4DA-ADA363A2247A}">
      <dgm:prSet phldrT="[Texte]"/>
      <dgm:spPr/>
      <dgm:t>
        <a:bodyPr/>
        <a:lstStyle/>
        <a:p>
          <a:r>
            <a:rPr lang="fr-FR" dirty="0" smtClean="0"/>
            <a:t>Améliorer les organisations internes : pilote d’action </a:t>
          </a:r>
          <a:endParaRPr lang="fr-FR" dirty="0"/>
        </a:p>
      </dgm:t>
    </dgm:pt>
    <dgm:pt modelId="{59EF202E-01AF-4519-A74C-752D08EAE148}" type="parTrans" cxnId="{E8285157-663C-4956-AEF0-393EF07D4F1A}">
      <dgm:prSet/>
      <dgm:spPr/>
      <dgm:t>
        <a:bodyPr/>
        <a:lstStyle/>
        <a:p>
          <a:endParaRPr lang="fr-FR"/>
        </a:p>
      </dgm:t>
    </dgm:pt>
    <dgm:pt modelId="{D0BE0D07-E89D-45F2-B54D-461EA3E4C6AF}" type="sibTrans" cxnId="{E8285157-663C-4956-AEF0-393EF07D4F1A}">
      <dgm:prSet/>
      <dgm:spPr/>
      <dgm:t>
        <a:bodyPr/>
        <a:lstStyle/>
        <a:p>
          <a:endParaRPr lang="fr-FR"/>
        </a:p>
      </dgm:t>
    </dgm:pt>
    <dgm:pt modelId="{BA71F0ED-6A2D-48DB-8797-00B3C8315E23}">
      <dgm:prSet phldrT="[Texte]"/>
      <dgm:spPr/>
      <dgm:t>
        <a:bodyPr/>
        <a:lstStyle/>
        <a:p>
          <a:r>
            <a:rPr lang="fr-FR" dirty="0" err="1" smtClean="0"/>
            <a:t>Obj</a:t>
          </a:r>
          <a:r>
            <a:rPr lang="fr-FR" dirty="0" smtClean="0"/>
            <a:t> spécifique 1</a:t>
          </a:r>
          <a:endParaRPr lang="fr-FR" dirty="0"/>
        </a:p>
      </dgm:t>
    </dgm:pt>
    <dgm:pt modelId="{29E029BE-9FE5-4195-B644-E1077C87CDD7}" type="parTrans" cxnId="{C88ECFF3-8AF1-4FF7-A198-A1E9354A7B0C}">
      <dgm:prSet/>
      <dgm:spPr/>
      <dgm:t>
        <a:bodyPr/>
        <a:lstStyle/>
        <a:p>
          <a:endParaRPr lang="fr-FR"/>
        </a:p>
      </dgm:t>
    </dgm:pt>
    <dgm:pt modelId="{7C88830B-2270-4756-8C2F-483D7205556A}" type="sibTrans" cxnId="{C88ECFF3-8AF1-4FF7-A198-A1E9354A7B0C}">
      <dgm:prSet/>
      <dgm:spPr/>
      <dgm:t>
        <a:bodyPr/>
        <a:lstStyle/>
        <a:p>
          <a:endParaRPr lang="fr-FR"/>
        </a:p>
      </dgm:t>
    </dgm:pt>
    <dgm:pt modelId="{59B926E2-00CC-4EB4-B31E-905ADC39090E}">
      <dgm:prSet phldrT="[Texte]"/>
      <dgm:spPr/>
      <dgm:t>
        <a:bodyPr/>
        <a:lstStyle/>
        <a:p>
          <a:r>
            <a:rPr lang="fr-FR" dirty="0" err="1" smtClean="0"/>
            <a:t>Obj</a:t>
          </a:r>
          <a:r>
            <a:rPr lang="fr-FR" dirty="0" smtClean="0"/>
            <a:t> spécifique 2…</a:t>
          </a:r>
          <a:endParaRPr lang="fr-FR" dirty="0"/>
        </a:p>
      </dgm:t>
    </dgm:pt>
    <dgm:pt modelId="{A60B8049-1920-4057-AAB9-EE2B8129BDDB}" type="parTrans" cxnId="{74D4F16A-54E4-441B-989F-D6E236F9EBBD}">
      <dgm:prSet/>
      <dgm:spPr/>
      <dgm:t>
        <a:bodyPr/>
        <a:lstStyle/>
        <a:p>
          <a:endParaRPr lang="fr-FR"/>
        </a:p>
      </dgm:t>
    </dgm:pt>
    <dgm:pt modelId="{372FCA47-CD08-4E72-BE68-9DAEC479FC6B}" type="sibTrans" cxnId="{74D4F16A-54E4-441B-989F-D6E236F9EBBD}">
      <dgm:prSet/>
      <dgm:spPr/>
      <dgm:t>
        <a:bodyPr/>
        <a:lstStyle/>
        <a:p>
          <a:endParaRPr lang="fr-FR"/>
        </a:p>
      </dgm:t>
    </dgm:pt>
    <dgm:pt modelId="{C755BB40-73B9-4E0C-AC3E-AA1F72FECB43}">
      <dgm:prSet phldrT="[Texte]"/>
      <dgm:spPr/>
      <dgm:t>
        <a:bodyPr/>
        <a:lstStyle/>
        <a:p>
          <a:r>
            <a:rPr lang="fr-FR" dirty="0" smtClean="0"/>
            <a:t>Renforcer l’accessibilité : pilote d’action</a:t>
          </a:r>
          <a:endParaRPr lang="fr-FR" dirty="0"/>
        </a:p>
      </dgm:t>
    </dgm:pt>
    <dgm:pt modelId="{226FA574-4223-4DA1-B559-0E626AAFAA2D}" type="parTrans" cxnId="{539E6AF8-EF41-4198-A2D8-ACC3B77F6D9E}">
      <dgm:prSet/>
      <dgm:spPr/>
      <dgm:t>
        <a:bodyPr/>
        <a:lstStyle/>
        <a:p>
          <a:endParaRPr lang="fr-FR"/>
        </a:p>
      </dgm:t>
    </dgm:pt>
    <dgm:pt modelId="{CF9D72D6-11B7-4336-B6A0-C98EE4769F65}" type="sibTrans" cxnId="{539E6AF8-EF41-4198-A2D8-ACC3B77F6D9E}">
      <dgm:prSet/>
      <dgm:spPr/>
      <dgm:t>
        <a:bodyPr/>
        <a:lstStyle/>
        <a:p>
          <a:endParaRPr lang="fr-FR"/>
        </a:p>
      </dgm:t>
    </dgm:pt>
    <dgm:pt modelId="{C155F576-ABCA-4AAC-8986-52A83FA86BB1}">
      <dgm:prSet phldrT="[Texte]"/>
      <dgm:spPr/>
      <dgm:t>
        <a:bodyPr/>
        <a:lstStyle/>
        <a:p>
          <a:r>
            <a:rPr lang="fr-FR" dirty="0" err="1" smtClean="0"/>
            <a:t>Obj</a:t>
          </a:r>
          <a:r>
            <a:rPr lang="fr-FR" dirty="0" smtClean="0"/>
            <a:t> spécifique 1</a:t>
          </a:r>
          <a:endParaRPr lang="fr-FR" dirty="0"/>
        </a:p>
      </dgm:t>
    </dgm:pt>
    <dgm:pt modelId="{F7DAADC8-2129-4A34-A557-8D0FB200E31A}" type="parTrans" cxnId="{78ACADA3-1389-4C8A-AF2C-C929BD48FBF8}">
      <dgm:prSet/>
      <dgm:spPr/>
      <dgm:t>
        <a:bodyPr/>
        <a:lstStyle/>
        <a:p>
          <a:endParaRPr lang="fr-FR"/>
        </a:p>
      </dgm:t>
    </dgm:pt>
    <dgm:pt modelId="{51C1E9D4-68B0-4A31-B548-182073281F29}" type="sibTrans" cxnId="{78ACADA3-1389-4C8A-AF2C-C929BD48FBF8}">
      <dgm:prSet/>
      <dgm:spPr/>
      <dgm:t>
        <a:bodyPr/>
        <a:lstStyle/>
        <a:p>
          <a:endParaRPr lang="fr-FR"/>
        </a:p>
      </dgm:t>
    </dgm:pt>
    <dgm:pt modelId="{6486AA7E-016F-4782-AC9D-6E56E9A25FA6}">
      <dgm:prSet phldrT="[Texte]"/>
      <dgm:spPr/>
      <dgm:t>
        <a:bodyPr/>
        <a:lstStyle/>
        <a:p>
          <a:r>
            <a:rPr lang="fr-FR" dirty="0" smtClean="0"/>
            <a:t>Développer et diffuser des outils : pilote d’action</a:t>
          </a:r>
          <a:endParaRPr lang="fr-FR" dirty="0"/>
        </a:p>
      </dgm:t>
    </dgm:pt>
    <dgm:pt modelId="{D919B117-08E3-4203-AB3C-045E22C4EE43}" type="parTrans" cxnId="{42EF3B4B-1E40-4179-A2D6-23BE54962608}">
      <dgm:prSet/>
      <dgm:spPr/>
      <dgm:t>
        <a:bodyPr/>
        <a:lstStyle/>
        <a:p>
          <a:endParaRPr lang="fr-FR"/>
        </a:p>
      </dgm:t>
    </dgm:pt>
    <dgm:pt modelId="{9E37B225-4862-4C18-89BA-AB2A3D3A1C0A}" type="sibTrans" cxnId="{42EF3B4B-1E40-4179-A2D6-23BE54962608}">
      <dgm:prSet/>
      <dgm:spPr/>
      <dgm:t>
        <a:bodyPr/>
        <a:lstStyle/>
        <a:p>
          <a:endParaRPr lang="fr-FR"/>
        </a:p>
      </dgm:t>
    </dgm:pt>
    <dgm:pt modelId="{CAA08CE8-5583-4C91-B261-E6A7D0A45D28}">
      <dgm:prSet phldrT="[Texte]"/>
      <dgm:spPr/>
      <dgm:t>
        <a:bodyPr/>
        <a:lstStyle/>
        <a:p>
          <a:r>
            <a:rPr lang="fr-FR" dirty="0" err="1" smtClean="0"/>
            <a:t>Obj</a:t>
          </a:r>
          <a:r>
            <a:rPr lang="fr-FR" dirty="0" smtClean="0"/>
            <a:t> spécifique 1</a:t>
          </a:r>
          <a:endParaRPr lang="fr-FR" dirty="0"/>
        </a:p>
      </dgm:t>
    </dgm:pt>
    <dgm:pt modelId="{6BCF743B-C34D-4949-88FD-E1018C842784}" type="parTrans" cxnId="{BCF59FB0-0FC8-470E-99E8-2EDFE4F3B7DD}">
      <dgm:prSet/>
      <dgm:spPr/>
      <dgm:t>
        <a:bodyPr/>
        <a:lstStyle/>
        <a:p>
          <a:endParaRPr lang="fr-FR"/>
        </a:p>
      </dgm:t>
    </dgm:pt>
    <dgm:pt modelId="{841D3BC0-1829-4D61-9BF6-36775954C078}" type="sibTrans" cxnId="{BCF59FB0-0FC8-470E-99E8-2EDFE4F3B7DD}">
      <dgm:prSet/>
      <dgm:spPr/>
      <dgm:t>
        <a:bodyPr/>
        <a:lstStyle/>
        <a:p>
          <a:endParaRPr lang="fr-FR"/>
        </a:p>
      </dgm:t>
    </dgm:pt>
    <dgm:pt modelId="{C1214C3D-664A-4D29-A35F-35381C1D4357}">
      <dgm:prSet phldrT="[Texte]"/>
      <dgm:spPr/>
      <dgm:t>
        <a:bodyPr/>
        <a:lstStyle/>
        <a:p>
          <a:r>
            <a:rPr lang="fr-FR" dirty="0" smtClean="0"/>
            <a:t>Rendre l’offre plus lisible pour les professionnels et les usagers : pilote d’action</a:t>
          </a:r>
          <a:endParaRPr lang="fr-FR" dirty="0"/>
        </a:p>
      </dgm:t>
    </dgm:pt>
    <dgm:pt modelId="{67552DB1-F8F8-4F21-B692-E7CD790063FE}" type="parTrans" cxnId="{A0D6F9C6-B0AA-43A8-BAA7-05B0B910F7E4}">
      <dgm:prSet/>
      <dgm:spPr/>
      <dgm:t>
        <a:bodyPr/>
        <a:lstStyle/>
        <a:p>
          <a:endParaRPr lang="fr-FR"/>
        </a:p>
      </dgm:t>
    </dgm:pt>
    <dgm:pt modelId="{8A9BDBB4-7EAE-4183-A1D9-3AB7039C1D80}" type="sibTrans" cxnId="{A0D6F9C6-B0AA-43A8-BAA7-05B0B910F7E4}">
      <dgm:prSet/>
      <dgm:spPr/>
      <dgm:t>
        <a:bodyPr/>
        <a:lstStyle/>
        <a:p>
          <a:endParaRPr lang="fr-FR"/>
        </a:p>
      </dgm:t>
    </dgm:pt>
    <dgm:pt modelId="{46882C11-AD09-4294-8B1D-21A7C7A69292}">
      <dgm:prSet phldrT="[Texte]"/>
      <dgm:spPr/>
      <dgm:t>
        <a:bodyPr/>
        <a:lstStyle/>
        <a:p>
          <a:r>
            <a:rPr lang="fr-FR" dirty="0" err="1" smtClean="0"/>
            <a:t>Obj</a:t>
          </a:r>
          <a:r>
            <a:rPr lang="fr-FR" dirty="0" smtClean="0"/>
            <a:t> spécifique 1</a:t>
          </a:r>
          <a:endParaRPr lang="fr-FR" dirty="0"/>
        </a:p>
      </dgm:t>
    </dgm:pt>
    <dgm:pt modelId="{8F2B68E0-6BE7-4102-8953-43543A50A348}" type="parTrans" cxnId="{081742EB-B99A-424E-BCAE-97CED5257250}">
      <dgm:prSet/>
      <dgm:spPr/>
      <dgm:t>
        <a:bodyPr/>
        <a:lstStyle/>
        <a:p>
          <a:endParaRPr lang="fr-FR"/>
        </a:p>
      </dgm:t>
    </dgm:pt>
    <dgm:pt modelId="{2866EAA7-BEC3-4731-8886-ACD17BB3D842}" type="sibTrans" cxnId="{081742EB-B99A-424E-BCAE-97CED5257250}">
      <dgm:prSet/>
      <dgm:spPr/>
      <dgm:t>
        <a:bodyPr/>
        <a:lstStyle/>
        <a:p>
          <a:endParaRPr lang="fr-FR"/>
        </a:p>
      </dgm:t>
    </dgm:pt>
    <dgm:pt modelId="{E8DB0A4C-F587-4036-B67E-9B137F70B661}">
      <dgm:prSet/>
      <dgm:spPr/>
      <dgm:t>
        <a:bodyPr/>
        <a:lstStyle/>
        <a:p>
          <a:r>
            <a:rPr lang="fr-FR" dirty="0" err="1" smtClean="0"/>
            <a:t>Obj</a:t>
          </a:r>
          <a:r>
            <a:rPr lang="fr-FR" dirty="0" smtClean="0"/>
            <a:t> spécifique 2…</a:t>
          </a:r>
          <a:endParaRPr lang="fr-FR" dirty="0"/>
        </a:p>
      </dgm:t>
    </dgm:pt>
    <dgm:pt modelId="{0D933760-B313-4180-A092-1D6525EA19B8}" type="parTrans" cxnId="{5FC4408B-28A6-4726-9468-17E005881597}">
      <dgm:prSet/>
      <dgm:spPr/>
      <dgm:t>
        <a:bodyPr/>
        <a:lstStyle/>
        <a:p>
          <a:endParaRPr lang="fr-FR"/>
        </a:p>
      </dgm:t>
    </dgm:pt>
    <dgm:pt modelId="{12B0310B-9CE2-4BC2-9292-196BDEA926DD}" type="sibTrans" cxnId="{5FC4408B-28A6-4726-9468-17E005881597}">
      <dgm:prSet/>
      <dgm:spPr/>
      <dgm:t>
        <a:bodyPr/>
        <a:lstStyle/>
        <a:p>
          <a:endParaRPr lang="fr-FR"/>
        </a:p>
      </dgm:t>
    </dgm:pt>
    <dgm:pt modelId="{CCC821F5-4874-4078-9570-52F4EE443DA7}">
      <dgm:prSet/>
      <dgm:spPr/>
      <dgm:t>
        <a:bodyPr/>
        <a:lstStyle/>
        <a:p>
          <a:r>
            <a:rPr lang="fr-FR" dirty="0" err="1" smtClean="0"/>
            <a:t>Obj</a:t>
          </a:r>
          <a:r>
            <a:rPr lang="fr-FR" dirty="0" smtClean="0"/>
            <a:t> spécifique 2…</a:t>
          </a:r>
          <a:endParaRPr lang="fr-FR" dirty="0"/>
        </a:p>
      </dgm:t>
    </dgm:pt>
    <dgm:pt modelId="{C119006E-65AA-4CEA-91D3-FF4799799C23}" type="parTrans" cxnId="{862250E1-82A2-40DB-ACBF-88B1CC9E6098}">
      <dgm:prSet/>
      <dgm:spPr/>
      <dgm:t>
        <a:bodyPr/>
        <a:lstStyle/>
        <a:p>
          <a:endParaRPr lang="fr-FR"/>
        </a:p>
      </dgm:t>
    </dgm:pt>
    <dgm:pt modelId="{02AEB668-4693-4A6B-83DA-30E0740CBBF7}" type="sibTrans" cxnId="{862250E1-82A2-40DB-ACBF-88B1CC9E6098}">
      <dgm:prSet/>
      <dgm:spPr/>
      <dgm:t>
        <a:bodyPr/>
        <a:lstStyle/>
        <a:p>
          <a:endParaRPr lang="fr-FR"/>
        </a:p>
      </dgm:t>
    </dgm:pt>
    <dgm:pt modelId="{90E3E288-0C06-439D-BC1D-C09EB85D804D}">
      <dgm:prSet/>
      <dgm:spPr/>
      <dgm:t>
        <a:bodyPr/>
        <a:lstStyle/>
        <a:p>
          <a:r>
            <a:rPr lang="fr-FR" dirty="0" err="1" smtClean="0"/>
            <a:t>Obj</a:t>
          </a:r>
          <a:r>
            <a:rPr lang="fr-FR" dirty="0" smtClean="0"/>
            <a:t> spécifique 2…</a:t>
          </a:r>
          <a:endParaRPr lang="fr-FR" dirty="0"/>
        </a:p>
      </dgm:t>
    </dgm:pt>
    <dgm:pt modelId="{019C5B30-3503-4CC9-BD92-773DF3612496}" type="parTrans" cxnId="{94EA17A6-D256-4A4D-A724-FDFEC5C915BB}">
      <dgm:prSet/>
      <dgm:spPr/>
      <dgm:t>
        <a:bodyPr/>
        <a:lstStyle/>
        <a:p>
          <a:endParaRPr lang="fr-FR"/>
        </a:p>
      </dgm:t>
    </dgm:pt>
    <dgm:pt modelId="{9CE0CB53-1828-40A7-A4E8-20953D4469D4}" type="sibTrans" cxnId="{94EA17A6-D256-4A4D-A724-FDFEC5C915BB}">
      <dgm:prSet/>
      <dgm:spPr/>
      <dgm:t>
        <a:bodyPr/>
        <a:lstStyle/>
        <a:p>
          <a:endParaRPr lang="fr-FR"/>
        </a:p>
      </dgm:t>
    </dgm:pt>
    <dgm:pt modelId="{9E66B774-B8CC-4C0D-B628-CD37E1907551}">
      <dgm:prSet/>
      <dgm:spPr/>
      <dgm:t>
        <a:bodyPr/>
        <a:lstStyle/>
        <a:p>
          <a:r>
            <a:rPr lang="fr-FR" dirty="0" smtClean="0"/>
            <a:t>Compléter…</a:t>
          </a:r>
          <a:endParaRPr lang="fr-FR" dirty="0"/>
        </a:p>
      </dgm:t>
    </dgm:pt>
    <dgm:pt modelId="{361E1BFE-5B5F-47AA-98F7-4A7901A1EDB9}" type="parTrans" cxnId="{332EE3B1-8C18-4B05-A0CA-9E4D745AABC9}">
      <dgm:prSet/>
      <dgm:spPr/>
      <dgm:t>
        <a:bodyPr/>
        <a:lstStyle/>
        <a:p>
          <a:endParaRPr lang="fr-FR"/>
        </a:p>
      </dgm:t>
    </dgm:pt>
    <dgm:pt modelId="{BD059A43-F5F5-477B-9E38-63116DD65EF3}" type="sibTrans" cxnId="{332EE3B1-8C18-4B05-A0CA-9E4D745AABC9}">
      <dgm:prSet/>
      <dgm:spPr/>
      <dgm:t>
        <a:bodyPr/>
        <a:lstStyle/>
        <a:p>
          <a:endParaRPr lang="fr-FR"/>
        </a:p>
      </dgm:t>
    </dgm:pt>
    <dgm:pt modelId="{4AB49EC5-D057-4B82-9C14-807CF8A26440}" type="pres">
      <dgm:prSet presAssocID="{89026A2A-0635-4165-86AF-FEC40A412D6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BA832394-63F6-454B-861E-35339380E218}" type="pres">
      <dgm:prSet presAssocID="{2D1D5459-7480-42A6-B4DA-ADA363A2247A}" presName="parentLin" presStyleCnt="0"/>
      <dgm:spPr/>
    </dgm:pt>
    <dgm:pt modelId="{5E2DF161-9A9A-457F-9697-71D641F0A9F1}" type="pres">
      <dgm:prSet presAssocID="{2D1D5459-7480-42A6-B4DA-ADA363A2247A}" presName="parentLeftMargin" presStyleLbl="node1" presStyleIdx="0" presStyleCnt="5"/>
      <dgm:spPr/>
      <dgm:t>
        <a:bodyPr/>
        <a:lstStyle/>
        <a:p>
          <a:endParaRPr lang="fr-FR"/>
        </a:p>
      </dgm:t>
    </dgm:pt>
    <dgm:pt modelId="{97316B73-D945-46BA-AA35-F7A9EC4CD4CD}" type="pres">
      <dgm:prSet presAssocID="{2D1D5459-7480-42A6-B4DA-ADA363A2247A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634431B-0C91-4A11-8F7E-9692D29FE576}" type="pres">
      <dgm:prSet presAssocID="{2D1D5459-7480-42A6-B4DA-ADA363A2247A}" presName="negativeSpace" presStyleCnt="0"/>
      <dgm:spPr/>
    </dgm:pt>
    <dgm:pt modelId="{FB3917A2-DF58-4AD0-9842-40F724F2BBF7}" type="pres">
      <dgm:prSet presAssocID="{2D1D5459-7480-42A6-B4DA-ADA363A2247A}" presName="childText" presStyleLbl="conFgAcc1" presStyleIdx="0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CD89AEA-7DA3-471B-A420-9D9915620B84}" type="pres">
      <dgm:prSet presAssocID="{D0BE0D07-E89D-45F2-B54D-461EA3E4C6AF}" presName="spaceBetweenRectangles" presStyleCnt="0"/>
      <dgm:spPr/>
    </dgm:pt>
    <dgm:pt modelId="{0A162440-4483-42F0-935D-84A0ADA6F73F}" type="pres">
      <dgm:prSet presAssocID="{C755BB40-73B9-4E0C-AC3E-AA1F72FECB43}" presName="parentLin" presStyleCnt="0"/>
      <dgm:spPr/>
    </dgm:pt>
    <dgm:pt modelId="{C0ED801E-EC6D-4E57-B090-3F50C5F026E6}" type="pres">
      <dgm:prSet presAssocID="{C755BB40-73B9-4E0C-AC3E-AA1F72FECB43}" presName="parentLeftMargin" presStyleLbl="node1" presStyleIdx="0" presStyleCnt="5"/>
      <dgm:spPr/>
      <dgm:t>
        <a:bodyPr/>
        <a:lstStyle/>
        <a:p>
          <a:endParaRPr lang="fr-FR"/>
        </a:p>
      </dgm:t>
    </dgm:pt>
    <dgm:pt modelId="{AA8826D7-5D0E-44FB-B797-AA9D6AA6A927}" type="pres">
      <dgm:prSet presAssocID="{C755BB40-73B9-4E0C-AC3E-AA1F72FECB43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5FA9E4C-E5A8-4FA4-8A71-EC7C23909C01}" type="pres">
      <dgm:prSet presAssocID="{C755BB40-73B9-4E0C-AC3E-AA1F72FECB43}" presName="negativeSpace" presStyleCnt="0"/>
      <dgm:spPr/>
    </dgm:pt>
    <dgm:pt modelId="{04E69B66-8219-4641-9B87-3403A709362F}" type="pres">
      <dgm:prSet presAssocID="{C755BB40-73B9-4E0C-AC3E-AA1F72FECB43}" presName="childText" presStyleLbl="conFgAcc1" presStyleIdx="1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4D13444-4873-4B61-9204-F7EFF786F852}" type="pres">
      <dgm:prSet presAssocID="{CF9D72D6-11B7-4336-B6A0-C98EE4769F65}" presName="spaceBetweenRectangles" presStyleCnt="0"/>
      <dgm:spPr/>
    </dgm:pt>
    <dgm:pt modelId="{B16AAAFA-E0BF-43DC-9938-FBA51241696B}" type="pres">
      <dgm:prSet presAssocID="{6486AA7E-016F-4782-AC9D-6E56E9A25FA6}" presName="parentLin" presStyleCnt="0"/>
      <dgm:spPr/>
    </dgm:pt>
    <dgm:pt modelId="{A2DD17DD-E040-4031-B0FB-EB1DF7ECD561}" type="pres">
      <dgm:prSet presAssocID="{6486AA7E-016F-4782-AC9D-6E56E9A25FA6}" presName="parentLeftMargin" presStyleLbl="node1" presStyleIdx="1" presStyleCnt="5"/>
      <dgm:spPr/>
      <dgm:t>
        <a:bodyPr/>
        <a:lstStyle/>
        <a:p>
          <a:endParaRPr lang="fr-FR"/>
        </a:p>
      </dgm:t>
    </dgm:pt>
    <dgm:pt modelId="{C6D7D300-FD8C-4813-BA2A-EA0B9CD63C33}" type="pres">
      <dgm:prSet presAssocID="{6486AA7E-016F-4782-AC9D-6E56E9A25FA6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B2A140B-9C80-4D9F-B0F7-E86113DA6280}" type="pres">
      <dgm:prSet presAssocID="{6486AA7E-016F-4782-AC9D-6E56E9A25FA6}" presName="negativeSpace" presStyleCnt="0"/>
      <dgm:spPr/>
    </dgm:pt>
    <dgm:pt modelId="{306168C2-B084-4F03-8409-E964DE853171}" type="pres">
      <dgm:prSet presAssocID="{6486AA7E-016F-4782-AC9D-6E56E9A25FA6}" presName="childText" presStyleLbl="conFgAcc1" presStyleIdx="2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A135E15-67BF-41F2-9987-FCB8EF59B8F7}" type="pres">
      <dgm:prSet presAssocID="{9E37B225-4862-4C18-89BA-AB2A3D3A1C0A}" presName="spaceBetweenRectangles" presStyleCnt="0"/>
      <dgm:spPr/>
    </dgm:pt>
    <dgm:pt modelId="{11C7D435-FC62-486E-8DD1-20CF3735A2A5}" type="pres">
      <dgm:prSet presAssocID="{C1214C3D-664A-4D29-A35F-35381C1D4357}" presName="parentLin" presStyleCnt="0"/>
      <dgm:spPr/>
    </dgm:pt>
    <dgm:pt modelId="{3DFD109E-1C36-48D9-BD2A-D44A0028808F}" type="pres">
      <dgm:prSet presAssocID="{C1214C3D-664A-4D29-A35F-35381C1D4357}" presName="parentLeftMargin" presStyleLbl="node1" presStyleIdx="2" presStyleCnt="5"/>
      <dgm:spPr/>
      <dgm:t>
        <a:bodyPr/>
        <a:lstStyle/>
        <a:p>
          <a:endParaRPr lang="fr-FR"/>
        </a:p>
      </dgm:t>
    </dgm:pt>
    <dgm:pt modelId="{76419B06-DA4E-4928-AD0F-6B92D7A18135}" type="pres">
      <dgm:prSet presAssocID="{C1214C3D-664A-4D29-A35F-35381C1D4357}" presName="parentText" presStyleLbl="node1" presStyleIdx="3" presStyleCnt="5" custLinFactNeighborX="967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1533B0B-EDC3-4363-9806-EB17C3064C31}" type="pres">
      <dgm:prSet presAssocID="{C1214C3D-664A-4D29-A35F-35381C1D4357}" presName="negativeSpace" presStyleCnt="0"/>
      <dgm:spPr/>
    </dgm:pt>
    <dgm:pt modelId="{EC39BAB0-173F-4FAB-B8FF-FBC1FBCA7ECF}" type="pres">
      <dgm:prSet presAssocID="{C1214C3D-664A-4D29-A35F-35381C1D4357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F59D4D4-1246-4103-A641-18D9A4ADABE7}" type="pres">
      <dgm:prSet presAssocID="{8A9BDBB4-7EAE-4183-A1D9-3AB7039C1D80}" presName="spaceBetweenRectangles" presStyleCnt="0"/>
      <dgm:spPr/>
    </dgm:pt>
    <dgm:pt modelId="{C6663314-AD14-4236-B33D-CF2866E52ABA}" type="pres">
      <dgm:prSet presAssocID="{9E66B774-B8CC-4C0D-B628-CD37E1907551}" presName="parentLin" presStyleCnt="0"/>
      <dgm:spPr/>
    </dgm:pt>
    <dgm:pt modelId="{C4DF506B-BCEF-470B-97EB-8511877B2442}" type="pres">
      <dgm:prSet presAssocID="{9E66B774-B8CC-4C0D-B628-CD37E1907551}" presName="parentLeftMargin" presStyleLbl="node1" presStyleIdx="3" presStyleCnt="5"/>
      <dgm:spPr/>
      <dgm:t>
        <a:bodyPr/>
        <a:lstStyle/>
        <a:p>
          <a:endParaRPr lang="fr-FR"/>
        </a:p>
      </dgm:t>
    </dgm:pt>
    <dgm:pt modelId="{AA9208DC-86A3-44E0-94BA-E4F200050A51}" type="pres">
      <dgm:prSet presAssocID="{9E66B774-B8CC-4C0D-B628-CD37E1907551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A6E3CA0-B79A-4C62-8C7C-848775F9B97E}" type="pres">
      <dgm:prSet presAssocID="{9E66B774-B8CC-4C0D-B628-CD37E1907551}" presName="negativeSpace" presStyleCnt="0"/>
      <dgm:spPr/>
    </dgm:pt>
    <dgm:pt modelId="{A81E53F0-AB1E-4F22-B24A-107976AD1F13}" type="pres">
      <dgm:prSet presAssocID="{9E66B774-B8CC-4C0D-B628-CD37E1907551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16BD08E3-23C7-46DF-A4D8-70DC1FA7BF9B}" type="presOf" srcId="{2D1D5459-7480-42A6-B4DA-ADA363A2247A}" destId="{97316B73-D945-46BA-AA35-F7A9EC4CD4CD}" srcOrd="1" destOrd="0" presId="urn:microsoft.com/office/officeart/2005/8/layout/list1"/>
    <dgm:cxn modelId="{94EA17A6-D256-4A4D-A724-FDFEC5C915BB}" srcId="{C1214C3D-664A-4D29-A35F-35381C1D4357}" destId="{90E3E288-0C06-439D-BC1D-C09EB85D804D}" srcOrd="1" destOrd="0" parTransId="{019C5B30-3503-4CC9-BD92-773DF3612496}" sibTransId="{9CE0CB53-1828-40A7-A4E8-20953D4469D4}"/>
    <dgm:cxn modelId="{62DF726D-E72A-44CD-AF28-C3FCF5FDB633}" type="presOf" srcId="{6486AA7E-016F-4782-AC9D-6E56E9A25FA6}" destId="{A2DD17DD-E040-4031-B0FB-EB1DF7ECD561}" srcOrd="0" destOrd="0" presId="urn:microsoft.com/office/officeart/2005/8/layout/list1"/>
    <dgm:cxn modelId="{9C916BC2-FBED-411E-99D1-731372B4D416}" type="presOf" srcId="{2D1D5459-7480-42A6-B4DA-ADA363A2247A}" destId="{5E2DF161-9A9A-457F-9697-71D641F0A9F1}" srcOrd="0" destOrd="0" presId="urn:microsoft.com/office/officeart/2005/8/layout/list1"/>
    <dgm:cxn modelId="{C88ECFF3-8AF1-4FF7-A198-A1E9354A7B0C}" srcId="{2D1D5459-7480-42A6-B4DA-ADA363A2247A}" destId="{BA71F0ED-6A2D-48DB-8797-00B3C8315E23}" srcOrd="0" destOrd="0" parTransId="{29E029BE-9FE5-4195-B644-E1077C87CDD7}" sibTransId="{7C88830B-2270-4756-8C2F-483D7205556A}"/>
    <dgm:cxn modelId="{74D4F16A-54E4-441B-989F-D6E236F9EBBD}" srcId="{2D1D5459-7480-42A6-B4DA-ADA363A2247A}" destId="{59B926E2-00CC-4EB4-B31E-905ADC39090E}" srcOrd="1" destOrd="0" parTransId="{A60B8049-1920-4057-AAB9-EE2B8129BDDB}" sibTransId="{372FCA47-CD08-4E72-BE68-9DAEC479FC6B}"/>
    <dgm:cxn modelId="{539E6AF8-EF41-4198-A2D8-ACC3B77F6D9E}" srcId="{89026A2A-0635-4165-86AF-FEC40A412D6D}" destId="{C755BB40-73B9-4E0C-AC3E-AA1F72FECB43}" srcOrd="1" destOrd="0" parTransId="{226FA574-4223-4DA1-B559-0E626AAFAA2D}" sibTransId="{CF9D72D6-11B7-4336-B6A0-C98EE4769F65}"/>
    <dgm:cxn modelId="{7A0EADE7-58BA-4590-891D-38072EAD5149}" type="presOf" srcId="{C1214C3D-664A-4D29-A35F-35381C1D4357}" destId="{3DFD109E-1C36-48D9-BD2A-D44A0028808F}" srcOrd="0" destOrd="0" presId="urn:microsoft.com/office/officeart/2005/8/layout/list1"/>
    <dgm:cxn modelId="{97E77FE8-BF21-4677-9139-277A12077D4E}" type="presOf" srcId="{6486AA7E-016F-4782-AC9D-6E56E9A25FA6}" destId="{C6D7D300-FD8C-4813-BA2A-EA0B9CD63C33}" srcOrd="1" destOrd="0" presId="urn:microsoft.com/office/officeart/2005/8/layout/list1"/>
    <dgm:cxn modelId="{249E8578-DC58-4546-9BB7-7477BC73491F}" type="presOf" srcId="{CAA08CE8-5583-4C91-B261-E6A7D0A45D28}" destId="{306168C2-B084-4F03-8409-E964DE853171}" srcOrd="0" destOrd="0" presId="urn:microsoft.com/office/officeart/2005/8/layout/list1"/>
    <dgm:cxn modelId="{A0D6F9C6-B0AA-43A8-BAA7-05B0B910F7E4}" srcId="{89026A2A-0635-4165-86AF-FEC40A412D6D}" destId="{C1214C3D-664A-4D29-A35F-35381C1D4357}" srcOrd="3" destOrd="0" parTransId="{67552DB1-F8F8-4F21-B692-E7CD790063FE}" sibTransId="{8A9BDBB4-7EAE-4183-A1D9-3AB7039C1D80}"/>
    <dgm:cxn modelId="{78ACADA3-1389-4C8A-AF2C-C929BD48FBF8}" srcId="{C755BB40-73B9-4E0C-AC3E-AA1F72FECB43}" destId="{C155F576-ABCA-4AAC-8986-52A83FA86BB1}" srcOrd="0" destOrd="0" parTransId="{F7DAADC8-2129-4A34-A557-8D0FB200E31A}" sibTransId="{51C1E9D4-68B0-4A31-B548-182073281F29}"/>
    <dgm:cxn modelId="{216383CF-B03B-4A77-8C9C-247E8ED2F5DA}" type="presOf" srcId="{89026A2A-0635-4165-86AF-FEC40A412D6D}" destId="{4AB49EC5-D057-4B82-9C14-807CF8A26440}" srcOrd="0" destOrd="0" presId="urn:microsoft.com/office/officeart/2005/8/layout/list1"/>
    <dgm:cxn modelId="{CAD88F2E-F535-4814-8919-B99F33819C81}" type="presOf" srcId="{C1214C3D-664A-4D29-A35F-35381C1D4357}" destId="{76419B06-DA4E-4928-AD0F-6B92D7A18135}" srcOrd="1" destOrd="0" presId="urn:microsoft.com/office/officeart/2005/8/layout/list1"/>
    <dgm:cxn modelId="{6C9139B4-902E-4937-BAA7-0E91E4886A33}" type="presOf" srcId="{59B926E2-00CC-4EB4-B31E-905ADC39090E}" destId="{FB3917A2-DF58-4AD0-9842-40F724F2BBF7}" srcOrd="0" destOrd="1" presId="urn:microsoft.com/office/officeart/2005/8/layout/list1"/>
    <dgm:cxn modelId="{EFCA65F9-5EAC-4625-88B2-AB7600FFCD4E}" type="presOf" srcId="{BA71F0ED-6A2D-48DB-8797-00B3C8315E23}" destId="{FB3917A2-DF58-4AD0-9842-40F724F2BBF7}" srcOrd="0" destOrd="0" presId="urn:microsoft.com/office/officeart/2005/8/layout/list1"/>
    <dgm:cxn modelId="{E8285157-663C-4956-AEF0-393EF07D4F1A}" srcId="{89026A2A-0635-4165-86AF-FEC40A412D6D}" destId="{2D1D5459-7480-42A6-B4DA-ADA363A2247A}" srcOrd="0" destOrd="0" parTransId="{59EF202E-01AF-4519-A74C-752D08EAE148}" sibTransId="{D0BE0D07-E89D-45F2-B54D-461EA3E4C6AF}"/>
    <dgm:cxn modelId="{10613C47-BB7B-4992-9EFE-721F2236D5F5}" type="presOf" srcId="{90E3E288-0C06-439D-BC1D-C09EB85D804D}" destId="{EC39BAB0-173F-4FAB-B8FF-FBC1FBCA7ECF}" srcOrd="0" destOrd="1" presId="urn:microsoft.com/office/officeart/2005/8/layout/list1"/>
    <dgm:cxn modelId="{862250E1-82A2-40DB-ACBF-88B1CC9E6098}" srcId="{6486AA7E-016F-4782-AC9D-6E56E9A25FA6}" destId="{CCC821F5-4874-4078-9570-52F4EE443DA7}" srcOrd="1" destOrd="0" parTransId="{C119006E-65AA-4CEA-91D3-FF4799799C23}" sibTransId="{02AEB668-4693-4A6B-83DA-30E0740CBBF7}"/>
    <dgm:cxn modelId="{A022A8BB-CAF3-46EE-AE4C-C95EFE125EEE}" type="presOf" srcId="{9E66B774-B8CC-4C0D-B628-CD37E1907551}" destId="{C4DF506B-BCEF-470B-97EB-8511877B2442}" srcOrd="0" destOrd="0" presId="urn:microsoft.com/office/officeart/2005/8/layout/list1"/>
    <dgm:cxn modelId="{B9EF4A24-A252-4233-8F03-7BF75EF85ADE}" type="presOf" srcId="{C755BB40-73B9-4E0C-AC3E-AA1F72FECB43}" destId="{C0ED801E-EC6D-4E57-B090-3F50C5F026E6}" srcOrd="0" destOrd="0" presId="urn:microsoft.com/office/officeart/2005/8/layout/list1"/>
    <dgm:cxn modelId="{332EE3B1-8C18-4B05-A0CA-9E4D745AABC9}" srcId="{89026A2A-0635-4165-86AF-FEC40A412D6D}" destId="{9E66B774-B8CC-4C0D-B628-CD37E1907551}" srcOrd="4" destOrd="0" parTransId="{361E1BFE-5B5F-47AA-98F7-4A7901A1EDB9}" sibTransId="{BD059A43-F5F5-477B-9E38-63116DD65EF3}"/>
    <dgm:cxn modelId="{5FC4408B-28A6-4726-9468-17E005881597}" srcId="{C755BB40-73B9-4E0C-AC3E-AA1F72FECB43}" destId="{E8DB0A4C-F587-4036-B67E-9B137F70B661}" srcOrd="1" destOrd="0" parTransId="{0D933760-B313-4180-A092-1D6525EA19B8}" sibTransId="{12B0310B-9CE2-4BC2-9292-196BDEA926DD}"/>
    <dgm:cxn modelId="{8185C5EB-DD28-4252-9A91-F2C7CB071264}" type="presOf" srcId="{C755BB40-73B9-4E0C-AC3E-AA1F72FECB43}" destId="{AA8826D7-5D0E-44FB-B797-AA9D6AA6A927}" srcOrd="1" destOrd="0" presId="urn:microsoft.com/office/officeart/2005/8/layout/list1"/>
    <dgm:cxn modelId="{140A109E-EBAF-411A-9A44-A42DBFEEF13D}" type="presOf" srcId="{E8DB0A4C-F587-4036-B67E-9B137F70B661}" destId="{04E69B66-8219-4641-9B87-3403A709362F}" srcOrd="0" destOrd="1" presId="urn:microsoft.com/office/officeart/2005/8/layout/list1"/>
    <dgm:cxn modelId="{BCF59FB0-0FC8-470E-99E8-2EDFE4F3B7DD}" srcId="{6486AA7E-016F-4782-AC9D-6E56E9A25FA6}" destId="{CAA08CE8-5583-4C91-B261-E6A7D0A45D28}" srcOrd="0" destOrd="0" parTransId="{6BCF743B-C34D-4949-88FD-E1018C842784}" sibTransId="{841D3BC0-1829-4D61-9BF6-36775954C078}"/>
    <dgm:cxn modelId="{B3F1ADB6-3895-467A-96A0-C6D6F8ABD12F}" type="presOf" srcId="{CCC821F5-4874-4078-9570-52F4EE443DA7}" destId="{306168C2-B084-4F03-8409-E964DE853171}" srcOrd="0" destOrd="1" presId="urn:microsoft.com/office/officeart/2005/8/layout/list1"/>
    <dgm:cxn modelId="{081742EB-B99A-424E-BCAE-97CED5257250}" srcId="{C1214C3D-664A-4D29-A35F-35381C1D4357}" destId="{46882C11-AD09-4294-8B1D-21A7C7A69292}" srcOrd="0" destOrd="0" parTransId="{8F2B68E0-6BE7-4102-8953-43543A50A348}" sibTransId="{2866EAA7-BEC3-4731-8886-ACD17BB3D842}"/>
    <dgm:cxn modelId="{42EF3B4B-1E40-4179-A2D6-23BE54962608}" srcId="{89026A2A-0635-4165-86AF-FEC40A412D6D}" destId="{6486AA7E-016F-4782-AC9D-6E56E9A25FA6}" srcOrd="2" destOrd="0" parTransId="{D919B117-08E3-4203-AB3C-045E22C4EE43}" sibTransId="{9E37B225-4862-4C18-89BA-AB2A3D3A1C0A}"/>
    <dgm:cxn modelId="{19196D1A-7B25-4A48-B13B-A3B2BFF15295}" type="presOf" srcId="{9E66B774-B8CC-4C0D-B628-CD37E1907551}" destId="{AA9208DC-86A3-44E0-94BA-E4F200050A51}" srcOrd="1" destOrd="0" presId="urn:microsoft.com/office/officeart/2005/8/layout/list1"/>
    <dgm:cxn modelId="{C9A11746-5772-4AE0-9966-E482B0DFD68C}" type="presOf" srcId="{46882C11-AD09-4294-8B1D-21A7C7A69292}" destId="{EC39BAB0-173F-4FAB-B8FF-FBC1FBCA7ECF}" srcOrd="0" destOrd="0" presId="urn:microsoft.com/office/officeart/2005/8/layout/list1"/>
    <dgm:cxn modelId="{82C78156-8EAB-42D2-840A-30480E7A040F}" type="presOf" srcId="{C155F576-ABCA-4AAC-8986-52A83FA86BB1}" destId="{04E69B66-8219-4641-9B87-3403A709362F}" srcOrd="0" destOrd="0" presId="urn:microsoft.com/office/officeart/2005/8/layout/list1"/>
    <dgm:cxn modelId="{75237EFC-88B8-45EE-B78D-A7A0C88F3D8A}" type="presParOf" srcId="{4AB49EC5-D057-4B82-9C14-807CF8A26440}" destId="{BA832394-63F6-454B-861E-35339380E218}" srcOrd="0" destOrd="0" presId="urn:microsoft.com/office/officeart/2005/8/layout/list1"/>
    <dgm:cxn modelId="{0F8A42CE-00C2-4661-A432-A1D2651431F1}" type="presParOf" srcId="{BA832394-63F6-454B-861E-35339380E218}" destId="{5E2DF161-9A9A-457F-9697-71D641F0A9F1}" srcOrd="0" destOrd="0" presId="urn:microsoft.com/office/officeart/2005/8/layout/list1"/>
    <dgm:cxn modelId="{3614C336-EF42-4B01-A9E1-B9263815C29C}" type="presParOf" srcId="{BA832394-63F6-454B-861E-35339380E218}" destId="{97316B73-D945-46BA-AA35-F7A9EC4CD4CD}" srcOrd="1" destOrd="0" presId="urn:microsoft.com/office/officeart/2005/8/layout/list1"/>
    <dgm:cxn modelId="{8F7CE2FA-335F-4246-A626-30AB32032785}" type="presParOf" srcId="{4AB49EC5-D057-4B82-9C14-807CF8A26440}" destId="{A634431B-0C91-4A11-8F7E-9692D29FE576}" srcOrd="1" destOrd="0" presId="urn:microsoft.com/office/officeart/2005/8/layout/list1"/>
    <dgm:cxn modelId="{3B976D6A-2D44-4A67-A2EC-E28D37CA3066}" type="presParOf" srcId="{4AB49EC5-D057-4B82-9C14-807CF8A26440}" destId="{FB3917A2-DF58-4AD0-9842-40F724F2BBF7}" srcOrd="2" destOrd="0" presId="urn:microsoft.com/office/officeart/2005/8/layout/list1"/>
    <dgm:cxn modelId="{78F30725-6E1D-4219-AEEC-B40B4FC95B30}" type="presParOf" srcId="{4AB49EC5-D057-4B82-9C14-807CF8A26440}" destId="{DCD89AEA-7DA3-471B-A420-9D9915620B84}" srcOrd="3" destOrd="0" presId="urn:microsoft.com/office/officeart/2005/8/layout/list1"/>
    <dgm:cxn modelId="{27B7795A-108E-4FFA-BC30-7292F4B8C38D}" type="presParOf" srcId="{4AB49EC5-D057-4B82-9C14-807CF8A26440}" destId="{0A162440-4483-42F0-935D-84A0ADA6F73F}" srcOrd="4" destOrd="0" presId="urn:microsoft.com/office/officeart/2005/8/layout/list1"/>
    <dgm:cxn modelId="{AC10332B-206F-4FB8-85F1-9BFF0722D3C5}" type="presParOf" srcId="{0A162440-4483-42F0-935D-84A0ADA6F73F}" destId="{C0ED801E-EC6D-4E57-B090-3F50C5F026E6}" srcOrd="0" destOrd="0" presId="urn:microsoft.com/office/officeart/2005/8/layout/list1"/>
    <dgm:cxn modelId="{F7289120-937D-47BC-B8D1-A9EBC7763DE3}" type="presParOf" srcId="{0A162440-4483-42F0-935D-84A0ADA6F73F}" destId="{AA8826D7-5D0E-44FB-B797-AA9D6AA6A927}" srcOrd="1" destOrd="0" presId="urn:microsoft.com/office/officeart/2005/8/layout/list1"/>
    <dgm:cxn modelId="{0C726DCF-124F-4CA9-9850-4694D97895E8}" type="presParOf" srcId="{4AB49EC5-D057-4B82-9C14-807CF8A26440}" destId="{05FA9E4C-E5A8-4FA4-8A71-EC7C23909C01}" srcOrd="5" destOrd="0" presId="urn:microsoft.com/office/officeart/2005/8/layout/list1"/>
    <dgm:cxn modelId="{5F626C2B-2261-42EC-96F1-61323C63FA7B}" type="presParOf" srcId="{4AB49EC5-D057-4B82-9C14-807CF8A26440}" destId="{04E69B66-8219-4641-9B87-3403A709362F}" srcOrd="6" destOrd="0" presId="urn:microsoft.com/office/officeart/2005/8/layout/list1"/>
    <dgm:cxn modelId="{EA528566-C0B0-4313-91E8-55F48C8AF818}" type="presParOf" srcId="{4AB49EC5-D057-4B82-9C14-807CF8A26440}" destId="{E4D13444-4873-4B61-9204-F7EFF786F852}" srcOrd="7" destOrd="0" presId="urn:microsoft.com/office/officeart/2005/8/layout/list1"/>
    <dgm:cxn modelId="{7E82B980-F12B-44EC-9606-FDDDC8353203}" type="presParOf" srcId="{4AB49EC5-D057-4B82-9C14-807CF8A26440}" destId="{B16AAAFA-E0BF-43DC-9938-FBA51241696B}" srcOrd="8" destOrd="0" presId="urn:microsoft.com/office/officeart/2005/8/layout/list1"/>
    <dgm:cxn modelId="{7A1B8EA9-9D1F-497C-91FB-F9DA290560E7}" type="presParOf" srcId="{B16AAAFA-E0BF-43DC-9938-FBA51241696B}" destId="{A2DD17DD-E040-4031-B0FB-EB1DF7ECD561}" srcOrd="0" destOrd="0" presId="urn:microsoft.com/office/officeart/2005/8/layout/list1"/>
    <dgm:cxn modelId="{382B684C-962D-42F9-B002-D519B2B68ACF}" type="presParOf" srcId="{B16AAAFA-E0BF-43DC-9938-FBA51241696B}" destId="{C6D7D300-FD8C-4813-BA2A-EA0B9CD63C33}" srcOrd="1" destOrd="0" presId="urn:microsoft.com/office/officeart/2005/8/layout/list1"/>
    <dgm:cxn modelId="{215921DA-0F20-4FC7-9F32-159B2E1C413E}" type="presParOf" srcId="{4AB49EC5-D057-4B82-9C14-807CF8A26440}" destId="{DB2A140B-9C80-4D9F-B0F7-E86113DA6280}" srcOrd="9" destOrd="0" presId="urn:microsoft.com/office/officeart/2005/8/layout/list1"/>
    <dgm:cxn modelId="{3DF444F1-6C0A-428A-83FF-2CE6E72750B6}" type="presParOf" srcId="{4AB49EC5-D057-4B82-9C14-807CF8A26440}" destId="{306168C2-B084-4F03-8409-E964DE853171}" srcOrd="10" destOrd="0" presId="urn:microsoft.com/office/officeart/2005/8/layout/list1"/>
    <dgm:cxn modelId="{F0905B5D-19CC-4069-98FF-8BD3F4D9AC83}" type="presParOf" srcId="{4AB49EC5-D057-4B82-9C14-807CF8A26440}" destId="{7A135E15-67BF-41F2-9987-FCB8EF59B8F7}" srcOrd="11" destOrd="0" presId="urn:microsoft.com/office/officeart/2005/8/layout/list1"/>
    <dgm:cxn modelId="{4552D314-F674-4BB0-B53B-E9A579A6BAA7}" type="presParOf" srcId="{4AB49EC5-D057-4B82-9C14-807CF8A26440}" destId="{11C7D435-FC62-486E-8DD1-20CF3735A2A5}" srcOrd="12" destOrd="0" presId="urn:microsoft.com/office/officeart/2005/8/layout/list1"/>
    <dgm:cxn modelId="{B69633B5-7BEB-4EC3-9D33-6C482F82339F}" type="presParOf" srcId="{11C7D435-FC62-486E-8DD1-20CF3735A2A5}" destId="{3DFD109E-1C36-48D9-BD2A-D44A0028808F}" srcOrd="0" destOrd="0" presId="urn:microsoft.com/office/officeart/2005/8/layout/list1"/>
    <dgm:cxn modelId="{2922844F-B220-4972-AD66-6BB326D80A97}" type="presParOf" srcId="{11C7D435-FC62-486E-8DD1-20CF3735A2A5}" destId="{76419B06-DA4E-4928-AD0F-6B92D7A18135}" srcOrd="1" destOrd="0" presId="urn:microsoft.com/office/officeart/2005/8/layout/list1"/>
    <dgm:cxn modelId="{76767742-78ED-4EFC-B857-A8267B905FB0}" type="presParOf" srcId="{4AB49EC5-D057-4B82-9C14-807CF8A26440}" destId="{A1533B0B-EDC3-4363-9806-EB17C3064C31}" srcOrd="13" destOrd="0" presId="urn:microsoft.com/office/officeart/2005/8/layout/list1"/>
    <dgm:cxn modelId="{34CEB3B7-F8B9-4D9E-B764-B69D413532B1}" type="presParOf" srcId="{4AB49EC5-D057-4B82-9C14-807CF8A26440}" destId="{EC39BAB0-173F-4FAB-B8FF-FBC1FBCA7ECF}" srcOrd="14" destOrd="0" presId="urn:microsoft.com/office/officeart/2005/8/layout/list1"/>
    <dgm:cxn modelId="{7EFC1A26-A1BA-4040-AC74-928F641104B4}" type="presParOf" srcId="{4AB49EC5-D057-4B82-9C14-807CF8A26440}" destId="{9F59D4D4-1246-4103-A641-18D9A4ADABE7}" srcOrd="15" destOrd="0" presId="urn:microsoft.com/office/officeart/2005/8/layout/list1"/>
    <dgm:cxn modelId="{CBAD0C0D-2143-4400-B05A-2CC273BC6E19}" type="presParOf" srcId="{4AB49EC5-D057-4B82-9C14-807CF8A26440}" destId="{C6663314-AD14-4236-B33D-CF2866E52ABA}" srcOrd="16" destOrd="0" presId="urn:microsoft.com/office/officeart/2005/8/layout/list1"/>
    <dgm:cxn modelId="{21979FA5-F012-4BEC-83D2-27F17D01C815}" type="presParOf" srcId="{C6663314-AD14-4236-B33D-CF2866E52ABA}" destId="{C4DF506B-BCEF-470B-97EB-8511877B2442}" srcOrd="0" destOrd="0" presId="urn:microsoft.com/office/officeart/2005/8/layout/list1"/>
    <dgm:cxn modelId="{315414A6-6ED6-4901-ABD9-DE486A10F734}" type="presParOf" srcId="{C6663314-AD14-4236-B33D-CF2866E52ABA}" destId="{AA9208DC-86A3-44E0-94BA-E4F200050A51}" srcOrd="1" destOrd="0" presId="urn:microsoft.com/office/officeart/2005/8/layout/list1"/>
    <dgm:cxn modelId="{DC0C6464-8C3E-414D-8F49-8F8664BA2142}" type="presParOf" srcId="{4AB49EC5-D057-4B82-9C14-807CF8A26440}" destId="{3A6E3CA0-B79A-4C62-8C7C-848775F9B97E}" srcOrd="17" destOrd="0" presId="urn:microsoft.com/office/officeart/2005/8/layout/list1"/>
    <dgm:cxn modelId="{65CD9759-E141-445F-A5A3-8B88E9A0DA43}" type="presParOf" srcId="{4AB49EC5-D057-4B82-9C14-807CF8A26440}" destId="{A81E53F0-AB1E-4F22-B24A-107976AD1F13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D2CF75E-C8E5-4928-8765-CA1A5DF1D65C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5FB78C34-63B2-4C43-8DED-8D5462F2EA04}">
      <dgm:prSet phldrT="[Texte]"/>
      <dgm:spPr/>
      <dgm:t>
        <a:bodyPr/>
        <a:lstStyle/>
        <a:p>
          <a:r>
            <a:rPr lang="fr-FR" dirty="0" smtClean="0"/>
            <a:t>Equipe projet ou groupe projet</a:t>
          </a:r>
          <a:endParaRPr lang="fr-FR" dirty="0"/>
        </a:p>
      </dgm:t>
    </dgm:pt>
    <dgm:pt modelId="{C46C9E00-5D25-4142-8388-35880EA08A37}" type="parTrans" cxnId="{881A05D7-52A6-4B1B-9864-178D3CE3F03D}">
      <dgm:prSet/>
      <dgm:spPr/>
      <dgm:t>
        <a:bodyPr/>
        <a:lstStyle/>
        <a:p>
          <a:endParaRPr lang="fr-FR"/>
        </a:p>
      </dgm:t>
    </dgm:pt>
    <dgm:pt modelId="{D5D2307A-D1B7-4CC8-BAC8-AC3EF8DAD109}" type="sibTrans" cxnId="{881A05D7-52A6-4B1B-9864-178D3CE3F03D}">
      <dgm:prSet/>
      <dgm:spPr/>
      <dgm:t>
        <a:bodyPr/>
        <a:lstStyle/>
        <a:p>
          <a:endParaRPr lang="fr-FR"/>
        </a:p>
      </dgm:t>
    </dgm:pt>
    <dgm:pt modelId="{7A345DB1-F0BD-4B0E-A17D-1746C9F94272}">
      <dgm:prSet phldrT="[Texte]"/>
      <dgm:spPr/>
      <dgm:t>
        <a:bodyPr/>
        <a:lstStyle/>
        <a:p>
          <a:r>
            <a:rPr lang="fr-FR" dirty="0" smtClean="0"/>
            <a:t>Pilotes portefeuille d’actions</a:t>
          </a:r>
          <a:endParaRPr lang="fr-FR" dirty="0"/>
        </a:p>
      </dgm:t>
    </dgm:pt>
    <dgm:pt modelId="{9C3AFA3E-4C25-41A5-9D63-E356E0F10E51}" type="parTrans" cxnId="{D2B9D1E2-D0F2-44B2-96D5-238B77497243}">
      <dgm:prSet/>
      <dgm:spPr/>
      <dgm:t>
        <a:bodyPr/>
        <a:lstStyle/>
        <a:p>
          <a:endParaRPr lang="fr-FR"/>
        </a:p>
      </dgm:t>
    </dgm:pt>
    <dgm:pt modelId="{765307EF-6582-40E6-AE9B-DB79D3D273DD}" type="sibTrans" cxnId="{D2B9D1E2-D0F2-44B2-96D5-238B77497243}">
      <dgm:prSet/>
      <dgm:spPr/>
      <dgm:t>
        <a:bodyPr/>
        <a:lstStyle/>
        <a:p>
          <a:endParaRPr lang="fr-FR"/>
        </a:p>
      </dgm:t>
    </dgm:pt>
    <dgm:pt modelId="{FD08FB48-45A4-4C36-8BAB-8300DA21F596}">
      <dgm:prSet phldrT="[Texte]"/>
      <dgm:spPr/>
      <dgm:t>
        <a:bodyPr/>
        <a:lstStyle/>
        <a:p>
          <a:r>
            <a:rPr lang="fr-FR" dirty="0" smtClean="0"/>
            <a:t>Pilotes portefeuille d’actions</a:t>
          </a:r>
          <a:endParaRPr lang="fr-FR" dirty="0"/>
        </a:p>
      </dgm:t>
    </dgm:pt>
    <dgm:pt modelId="{23E53A09-8048-4CF0-9FD6-93A4EE470AD8}" type="parTrans" cxnId="{E6B3CCDF-2A92-47D7-BF32-5FDB1B461250}">
      <dgm:prSet/>
      <dgm:spPr/>
      <dgm:t>
        <a:bodyPr/>
        <a:lstStyle/>
        <a:p>
          <a:endParaRPr lang="fr-FR"/>
        </a:p>
      </dgm:t>
    </dgm:pt>
    <dgm:pt modelId="{56613AAC-8E83-4693-BB23-CD06B7EC9F56}" type="sibTrans" cxnId="{E6B3CCDF-2A92-47D7-BF32-5FDB1B461250}">
      <dgm:prSet/>
      <dgm:spPr/>
      <dgm:t>
        <a:bodyPr/>
        <a:lstStyle/>
        <a:p>
          <a:endParaRPr lang="fr-FR"/>
        </a:p>
      </dgm:t>
    </dgm:pt>
    <dgm:pt modelId="{2E2D5AE0-E836-4EF0-92F5-02BC5CAB669D}">
      <dgm:prSet phldrT="[Texte]"/>
      <dgm:spPr/>
      <dgm:t>
        <a:bodyPr/>
        <a:lstStyle/>
        <a:p>
          <a:r>
            <a:rPr lang="fr-FR" dirty="0" smtClean="0"/>
            <a:t>Pilotes portefeuille</a:t>
          </a:r>
        </a:p>
        <a:p>
          <a:r>
            <a:rPr lang="fr-FR" dirty="0" smtClean="0"/>
            <a:t> d’actions </a:t>
          </a:r>
          <a:endParaRPr lang="fr-FR" dirty="0"/>
        </a:p>
      </dgm:t>
    </dgm:pt>
    <dgm:pt modelId="{7B39BD34-AC0B-49E2-980C-3EBA85608F73}" type="parTrans" cxnId="{6D69AB84-9774-4AF0-80EE-F9B6B1251C9C}">
      <dgm:prSet/>
      <dgm:spPr/>
      <dgm:t>
        <a:bodyPr/>
        <a:lstStyle/>
        <a:p>
          <a:endParaRPr lang="fr-FR"/>
        </a:p>
      </dgm:t>
    </dgm:pt>
    <dgm:pt modelId="{72F2CFF4-A696-4639-B9DD-3EE1BB36FC9C}" type="sibTrans" cxnId="{6D69AB84-9774-4AF0-80EE-F9B6B1251C9C}">
      <dgm:prSet/>
      <dgm:spPr/>
      <dgm:t>
        <a:bodyPr/>
        <a:lstStyle/>
        <a:p>
          <a:endParaRPr lang="fr-FR"/>
        </a:p>
      </dgm:t>
    </dgm:pt>
    <dgm:pt modelId="{CF0A5CED-C1C2-4158-8048-A88D536927AC}">
      <dgm:prSet/>
      <dgm:spPr/>
      <dgm:t>
        <a:bodyPr/>
        <a:lstStyle/>
        <a:p>
          <a:r>
            <a:rPr lang="fr-FR" dirty="0" smtClean="0"/>
            <a:t>Pilotes portefeuille d’actions</a:t>
          </a:r>
          <a:endParaRPr lang="fr-FR" dirty="0"/>
        </a:p>
      </dgm:t>
    </dgm:pt>
    <dgm:pt modelId="{E38922E7-77C9-4CAB-A51F-58EB58A38729}" type="parTrans" cxnId="{8A0C95D4-5298-4097-A66C-45AEFBF95A0C}">
      <dgm:prSet/>
      <dgm:spPr/>
      <dgm:t>
        <a:bodyPr/>
        <a:lstStyle/>
        <a:p>
          <a:endParaRPr lang="fr-FR"/>
        </a:p>
      </dgm:t>
    </dgm:pt>
    <dgm:pt modelId="{31576C66-9691-486D-908B-C77F5D2EC157}" type="sibTrans" cxnId="{8A0C95D4-5298-4097-A66C-45AEFBF95A0C}">
      <dgm:prSet/>
      <dgm:spPr/>
      <dgm:t>
        <a:bodyPr/>
        <a:lstStyle/>
        <a:p>
          <a:endParaRPr lang="fr-FR"/>
        </a:p>
      </dgm:t>
    </dgm:pt>
    <dgm:pt modelId="{F07B6310-8C4A-4708-B9C7-D35F002AA4C8}">
      <dgm:prSet/>
      <dgm:spPr/>
      <dgm:t>
        <a:bodyPr/>
        <a:lstStyle/>
        <a:p>
          <a:r>
            <a:rPr lang="fr-FR" dirty="0" smtClean="0"/>
            <a:t>Pilotes portefeuille d’actions</a:t>
          </a:r>
          <a:endParaRPr lang="fr-FR" dirty="0"/>
        </a:p>
      </dgm:t>
    </dgm:pt>
    <dgm:pt modelId="{C374E1B4-1503-4BAA-89B4-BDAB00C88DE8}" type="parTrans" cxnId="{33518F59-E474-4778-B264-AD113BE86EC9}">
      <dgm:prSet/>
      <dgm:spPr/>
      <dgm:t>
        <a:bodyPr/>
        <a:lstStyle/>
        <a:p>
          <a:endParaRPr lang="fr-FR"/>
        </a:p>
      </dgm:t>
    </dgm:pt>
    <dgm:pt modelId="{344F303E-8A2E-4E3D-9C54-08721A952E1B}" type="sibTrans" cxnId="{33518F59-E474-4778-B264-AD113BE86EC9}">
      <dgm:prSet/>
      <dgm:spPr/>
      <dgm:t>
        <a:bodyPr/>
        <a:lstStyle/>
        <a:p>
          <a:endParaRPr lang="fr-FR"/>
        </a:p>
      </dgm:t>
    </dgm:pt>
    <dgm:pt modelId="{EE996D96-C39D-481B-BA0A-9ECD202A972F}" type="pres">
      <dgm:prSet presAssocID="{CD2CF75E-C8E5-4928-8765-CA1A5DF1D65C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0ACA41F9-DC46-4E12-BDF5-4A0CB1E88087}" type="pres">
      <dgm:prSet presAssocID="{5FB78C34-63B2-4C43-8DED-8D5462F2EA04}" presName="hierRoot1" presStyleCnt="0">
        <dgm:presLayoutVars>
          <dgm:hierBranch val="init"/>
        </dgm:presLayoutVars>
      </dgm:prSet>
      <dgm:spPr/>
    </dgm:pt>
    <dgm:pt modelId="{93DE0AC1-DBC5-4AF0-940A-0A81B519744D}" type="pres">
      <dgm:prSet presAssocID="{5FB78C34-63B2-4C43-8DED-8D5462F2EA04}" presName="rootComposite1" presStyleCnt="0"/>
      <dgm:spPr/>
    </dgm:pt>
    <dgm:pt modelId="{174D50A0-04B0-4CA8-A93F-DE4EB6E0C781}" type="pres">
      <dgm:prSet presAssocID="{5FB78C34-63B2-4C43-8DED-8D5462F2EA04}" presName="rootText1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33A8B4D9-270E-47EF-9D05-F83D51DD0436}" type="pres">
      <dgm:prSet presAssocID="{5FB78C34-63B2-4C43-8DED-8D5462F2EA04}" presName="topArc1" presStyleLbl="parChTrans1D1" presStyleIdx="0" presStyleCnt="12"/>
      <dgm:spPr/>
    </dgm:pt>
    <dgm:pt modelId="{13F9DB8A-35CA-4681-88C7-4126F8CEC00A}" type="pres">
      <dgm:prSet presAssocID="{5FB78C34-63B2-4C43-8DED-8D5462F2EA04}" presName="bottomArc1" presStyleLbl="parChTrans1D1" presStyleIdx="1" presStyleCnt="12"/>
      <dgm:spPr/>
    </dgm:pt>
    <dgm:pt modelId="{D9864F66-421F-417F-9043-4CE344BCEC15}" type="pres">
      <dgm:prSet presAssocID="{5FB78C34-63B2-4C43-8DED-8D5462F2EA04}" presName="topConnNode1" presStyleLbl="node1" presStyleIdx="0" presStyleCnt="0"/>
      <dgm:spPr/>
      <dgm:t>
        <a:bodyPr/>
        <a:lstStyle/>
        <a:p>
          <a:endParaRPr lang="fr-FR"/>
        </a:p>
      </dgm:t>
    </dgm:pt>
    <dgm:pt modelId="{76D35E06-484A-4983-B6C9-0B8D646D4813}" type="pres">
      <dgm:prSet presAssocID="{5FB78C34-63B2-4C43-8DED-8D5462F2EA04}" presName="hierChild2" presStyleCnt="0"/>
      <dgm:spPr/>
    </dgm:pt>
    <dgm:pt modelId="{03CC2906-8B5F-4258-8CB7-D8D568CFA9D8}" type="pres">
      <dgm:prSet presAssocID="{E38922E7-77C9-4CAB-A51F-58EB58A38729}" presName="Name28" presStyleLbl="parChTrans1D2" presStyleIdx="0" presStyleCnt="5"/>
      <dgm:spPr/>
      <dgm:t>
        <a:bodyPr/>
        <a:lstStyle/>
        <a:p>
          <a:endParaRPr lang="fr-FR"/>
        </a:p>
      </dgm:t>
    </dgm:pt>
    <dgm:pt modelId="{0CBA4A94-D537-4F83-977D-90C0652BCE3A}" type="pres">
      <dgm:prSet presAssocID="{CF0A5CED-C1C2-4158-8048-A88D536927AC}" presName="hierRoot2" presStyleCnt="0">
        <dgm:presLayoutVars>
          <dgm:hierBranch val="init"/>
        </dgm:presLayoutVars>
      </dgm:prSet>
      <dgm:spPr/>
    </dgm:pt>
    <dgm:pt modelId="{C1751AA4-1F3F-4A4F-BDA6-BA02B77FE61A}" type="pres">
      <dgm:prSet presAssocID="{CF0A5CED-C1C2-4158-8048-A88D536927AC}" presName="rootComposite2" presStyleCnt="0"/>
      <dgm:spPr/>
    </dgm:pt>
    <dgm:pt modelId="{7CD84260-E99E-41B0-84CE-A608D3A84D40}" type="pres">
      <dgm:prSet presAssocID="{CF0A5CED-C1C2-4158-8048-A88D536927AC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AA68AC73-D73E-4878-8FFA-B72762ABFA86}" type="pres">
      <dgm:prSet presAssocID="{CF0A5CED-C1C2-4158-8048-A88D536927AC}" presName="topArc2" presStyleLbl="parChTrans1D1" presStyleIdx="2" presStyleCnt="12"/>
      <dgm:spPr/>
    </dgm:pt>
    <dgm:pt modelId="{72CBA170-F452-4FD9-B452-AE795BE1CFC3}" type="pres">
      <dgm:prSet presAssocID="{CF0A5CED-C1C2-4158-8048-A88D536927AC}" presName="bottomArc2" presStyleLbl="parChTrans1D1" presStyleIdx="3" presStyleCnt="12"/>
      <dgm:spPr/>
    </dgm:pt>
    <dgm:pt modelId="{7E37369D-CA00-4BA9-BBB1-FF2769A7D94A}" type="pres">
      <dgm:prSet presAssocID="{CF0A5CED-C1C2-4158-8048-A88D536927AC}" presName="topConnNode2" presStyleLbl="node2" presStyleIdx="0" presStyleCnt="0"/>
      <dgm:spPr/>
      <dgm:t>
        <a:bodyPr/>
        <a:lstStyle/>
        <a:p>
          <a:endParaRPr lang="fr-FR"/>
        </a:p>
      </dgm:t>
    </dgm:pt>
    <dgm:pt modelId="{AEF3F45C-FFA3-471B-9833-44AD838EBC26}" type="pres">
      <dgm:prSet presAssocID="{CF0A5CED-C1C2-4158-8048-A88D536927AC}" presName="hierChild4" presStyleCnt="0"/>
      <dgm:spPr/>
    </dgm:pt>
    <dgm:pt modelId="{52171571-CC08-40E1-9177-E47A40230EEC}" type="pres">
      <dgm:prSet presAssocID="{CF0A5CED-C1C2-4158-8048-A88D536927AC}" presName="hierChild5" presStyleCnt="0"/>
      <dgm:spPr/>
    </dgm:pt>
    <dgm:pt modelId="{52CC4A71-B067-4002-91A2-D78AB31F10C7}" type="pres">
      <dgm:prSet presAssocID="{C374E1B4-1503-4BAA-89B4-BDAB00C88DE8}" presName="Name28" presStyleLbl="parChTrans1D2" presStyleIdx="1" presStyleCnt="5"/>
      <dgm:spPr/>
      <dgm:t>
        <a:bodyPr/>
        <a:lstStyle/>
        <a:p>
          <a:endParaRPr lang="fr-FR"/>
        </a:p>
      </dgm:t>
    </dgm:pt>
    <dgm:pt modelId="{8CEAC0DA-68A9-495A-BEBF-30932FFD1D6F}" type="pres">
      <dgm:prSet presAssocID="{F07B6310-8C4A-4708-B9C7-D35F002AA4C8}" presName="hierRoot2" presStyleCnt="0">
        <dgm:presLayoutVars>
          <dgm:hierBranch val="init"/>
        </dgm:presLayoutVars>
      </dgm:prSet>
      <dgm:spPr/>
    </dgm:pt>
    <dgm:pt modelId="{E921EBC5-3645-410F-97CA-F652D47557CE}" type="pres">
      <dgm:prSet presAssocID="{F07B6310-8C4A-4708-B9C7-D35F002AA4C8}" presName="rootComposite2" presStyleCnt="0"/>
      <dgm:spPr/>
    </dgm:pt>
    <dgm:pt modelId="{49E25081-EB74-4FD6-BD3C-C3A493296A6A}" type="pres">
      <dgm:prSet presAssocID="{F07B6310-8C4A-4708-B9C7-D35F002AA4C8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B71B8661-62ED-4B27-AC93-209CB40DE754}" type="pres">
      <dgm:prSet presAssocID="{F07B6310-8C4A-4708-B9C7-D35F002AA4C8}" presName="topArc2" presStyleLbl="parChTrans1D1" presStyleIdx="4" presStyleCnt="12"/>
      <dgm:spPr/>
    </dgm:pt>
    <dgm:pt modelId="{13928CC3-2428-45F4-9E35-9653BB81EF42}" type="pres">
      <dgm:prSet presAssocID="{F07B6310-8C4A-4708-B9C7-D35F002AA4C8}" presName="bottomArc2" presStyleLbl="parChTrans1D1" presStyleIdx="5" presStyleCnt="12"/>
      <dgm:spPr/>
    </dgm:pt>
    <dgm:pt modelId="{3733A8EB-A77F-4F87-B352-813B53F5F8DD}" type="pres">
      <dgm:prSet presAssocID="{F07B6310-8C4A-4708-B9C7-D35F002AA4C8}" presName="topConnNode2" presStyleLbl="node2" presStyleIdx="0" presStyleCnt="0"/>
      <dgm:spPr/>
      <dgm:t>
        <a:bodyPr/>
        <a:lstStyle/>
        <a:p>
          <a:endParaRPr lang="fr-FR"/>
        </a:p>
      </dgm:t>
    </dgm:pt>
    <dgm:pt modelId="{0C3364AD-16F0-45CB-9512-0726AC2A884A}" type="pres">
      <dgm:prSet presAssocID="{F07B6310-8C4A-4708-B9C7-D35F002AA4C8}" presName="hierChild4" presStyleCnt="0"/>
      <dgm:spPr/>
    </dgm:pt>
    <dgm:pt modelId="{8C9101FE-E80C-4C40-95C6-09CA49818916}" type="pres">
      <dgm:prSet presAssocID="{F07B6310-8C4A-4708-B9C7-D35F002AA4C8}" presName="hierChild5" presStyleCnt="0"/>
      <dgm:spPr/>
    </dgm:pt>
    <dgm:pt modelId="{F61BBB84-2B88-4621-842A-B255870E087B}" type="pres">
      <dgm:prSet presAssocID="{9C3AFA3E-4C25-41A5-9D63-E356E0F10E51}" presName="Name28" presStyleLbl="parChTrans1D2" presStyleIdx="2" presStyleCnt="5"/>
      <dgm:spPr/>
      <dgm:t>
        <a:bodyPr/>
        <a:lstStyle/>
        <a:p>
          <a:endParaRPr lang="fr-FR"/>
        </a:p>
      </dgm:t>
    </dgm:pt>
    <dgm:pt modelId="{CC77F3D6-FA51-42DA-A747-71B88661A030}" type="pres">
      <dgm:prSet presAssocID="{7A345DB1-F0BD-4B0E-A17D-1746C9F94272}" presName="hierRoot2" presStyleCnt="0">
        <dgm:presLayoutVars>
          <dgm:hierBranch val="init"/>
        </dgm:presLayoutVars>
      </dgm:prSet>
      <dgm:spPr/>
    </dgm:pt>
    <dgm:pt modelId="{38BCF4B1-0B4C-4E67-BE4C-036C06E12CB8}" type="pres">
      <dgm:prSet presAssocID="{7A345DB1-F0BD-4B0E-A17D-1746C9F94272}" presName="rootComposite2" presStyleCnt="0"/>
      <dgm:spPr/>
    </dgm:pt>
    <dgm:pt modelId="{ED8146C3-9F4A-4D7C-8EB9-160AC02D9FD0}" type="pres">
      <dgm:prSet presAssocID="{7A345DB1-F0BD-4B0E-A17D-1746C9F94272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5274F423-969B-49BC-A7E9-FE930F57F7E6}" type="pres">
      <dgm:prSet presAssocID="{7A345DB1-F0BD-4B0E-A17D-1746C9F94272}" presName="topArc2" presStyleLbl="parChTrans1D1" presStyleIdx="6" presStyleCnt="12"/>
      <dgm:spPr/>
    </dgm:pt>
    <dgm:pt modelId="{B72D4779-CB67-433B-B356-2EA073362D7A}" type="pres">
      <dgm:prSet presAssocID="{7A345DB1-F0BD-4B0E-A17D-1746C9F94272}" presName="bottomArc2" presStyleLbl="parChTrans1D1" presStyleIdx="7" presStyleCnt="12"/>
      <dgm:spPr/>
    </dgm:pt>
    <dgm:pt modelId="{BC56C06E-8155-467C-9099-38688E51E1A7}" type="pres">
      <dgm:prSet presAssocID="{7A345DB1-F0BD-4B0E-A17D-1746C9F94272}" presName="topConnNode2" presStyleLbl="node2" presStyleIdx="0" presStyleCnt="0"/>
      <dgm:spPr/>
      <dgm:t>
        <a:bodyPr/>
        <a:lstStyle/>
        <a:p>
          <a:endParaRPr lang="fr-FR"/>
        </a:p>
      </dgm:t>
    </dgm:pt>
    <dgm:pt modelId="{4358F247-D433-4F00-A943-96CA6E4C569F}" type="pres">
      <dgm:prSet presAssocID="{7A345DB1-F0BD-4B0E-A17D-1746C9F94272}" presName="hierChild4" presStyleCnt="0"/>
      <dgm:spPr/>
    </dgm:pt>
    <dgm:pt modelId="{D986E5C5-8C9F-4EAE-81F5-D182E36F93F5}" type="pres">
      <dgm:prSet presAssocID="{7A345DB1-F0BD-4B0E-A17D-1746C9F94272}" presName="hierChild5" presStyleCnt="0"/>
      <dgm:spPr/>
    </dgm:pt>
    <dgm:pt modelId="{682DC39E-D00E-48AC-B85B-DE1F1819081B}" type="pres">
      <dgm:prSet presAssocID="{23E53A09-8048-4CF0-9FD6-93A4EE470AD8}" presName="Name28" presStyleLbl="parChTrans1D2" presStyleIdx="3" presStyleCnt="5"/>
      <dgm:spPr/>
      <dgm:t>
        <a:bodyPr/>
        <a:lstStyle/>
        <a:p>
          <a:endParaRPr lang="fr-FR"/>
        </a:p>
      </dgm:t>
    </dgm:pt>
    <dgm:pt modelId="{6F0B3A05-2B76-4876-B906-6EA993FBA3E2}" type="pres">
      <dgm:prSet presAssocID="{FD08FB48-45A4-4C36-8BAB-8300DA21F596}" presName="hierRoot2" presStyleCnt="0">
        <dgm:presLayoutVars>
          <dgm:hierBranch val="init"/>
        </dgm:presLayoutVars>
      </dgm:prSet>
      <dgm:spPr/>
    </dgm:pt>
    <dgm:pt modelId="{8E5154EF-44D8-4C84-B825-8A7C443348D4}" type="pres">
      <dgm:prSet presAssocID="{FD08FB48-45A4-4C36-8BAB-8300DA21F596}" presName="rootComposite2" presStyleCnt="0"/>
      <dgm:spPr/>
    </dgm:pt>
    <dgm:pt modelId="{74FEB349-B365-40B2-8D65-3618AB87AA2F}" type="pres">
      <dgm:prSet presAssocID="{FD08FB48-45A4-4C36-8BAB-8300DA21F596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E854C1C3-1E0E-4C13-8B0B-8ACADA187CF8}" type="pres">
      <dgm:prSet presAssocID="{FD08FB48-45A4-4C36-8BAB-8300DA21F596}" presName="topArc2" presStyleLbl="parChTrans1D1" presStyleIdx="8" presStyleCnt="12"/>
      <dgm:spPr/>
    </dgm:pt>
    <dgm:pt modelId="{4213ECA4-B682-491B-813D-0AD53C9DEDB2}" type="pres">
      <dgm:prSet presAssocID="{FD08FB48-45A4-4C36-8BAB-8300DA21F596}" presName="bottomArc2" presStyleLbl="parChTrans1D1" presStyleIdx="9" presStyleCnt="12"/>
      <dgm:spPr/>
    </dgm:pt>
    <dgm:pt modelId="{846B46DE-5D9A-4824-AE04-5D99DB42C1D7}" type="pres">
      <dgm:prSet presAssocID="{FD08FB48-45A4-4C36-8BAB-8300DA21F596}" presName="topConnNode2" presStyleLbl="node2" presStyleIdx="0" presStyleCnt="0"/>
      <dgm:spPr/>
      <dgm:t>
        <a:bodyPr/>
        <a:lstStyle/>
        <a:p>
          <a:endParaRPr lang="fr-FR"/>
        </a:p>
      </dgm:t>
    </dgm:pt>
    <dgm:pt modelId="{8944E683-C994-4055-97D1-4E1AFE15CE0F}" type="pres">
      <dgm:prSet presAssocID="{FD08FB48-45A4-4C36-8BAB-8300DA21F596}" presName="hierChild4" presStyleCnt="0"/>
      <dgm:spPr/>
    </dgm:pt>
    <dgm:pt modelId="{284D7528-D249-4191-80F4-4F289567F90E}" type="pres">
      <dgm:prSet presAssocID="{FD08FB48-45A4-4C36-8BAB-8300DA21F596}" presName="hierChild5" presStyleCnt="0"/>
      <dgm:spPr/>
    </dgm:pt>
    <dgm:pt modelId="{06B54D8E-7BF2-4222-B23B-B6ABC4533623}" type="pres">
      <dgm:prSet presAssocID="{7B39BD34-AC0B-49E2-980C-3EBA85608F73}" presName="Name28" presStyleLbl="parChTrans1D2" presStyleIdx="4" presStyleCnt="5"/>
      <dgm:spPr/>
      <dgm:t>
        <a:bodyPr/>
        <a:lstStyle/>
        <a:p>
          <a:endParaRPr lang="fr-FR"/>
        </a:p>
      </dgm:t>
    </dgm:pt>
    <dgm:pt modelId="{73D50620-4067-40A0-A241-7ACF6CA148C1}" type="pres">
      <dgm:prSet presAssocID="{2E2D5AE0-E836-4EF0-92F5-02BC5CAB669D}" presName="hierRoot2" presStyleCnt="0">
        <dgm:presLayoutVars>
          <dgm:hierBranch val="init"/>
        </dgm:presLayoutVars>
      </dgm:prSet>
      <dgm:spPr/>
    </dgm:pt>
    <dgm:pt modelId="{1D8797EC-90BB-4B1F-9954-C77EAD1E4410}" type="pres">
      <dgm:prSet presAssocID="{2E2D5AE0-E836-4EF0-92F5-02BC5CAB669D}" presName="rootComposite2" presStyleCnt="0"/>
      <dgm:spPr/>
    </dgm:pt>
    <dgm:pt modelId="{4E296E51-6C82-404E-A299-A4D3D1DB80C2}" type="pres">
      <dgm:prSet presAssocID="{2E2D5AE0-E836-4EF0-92F5-02BC5CAB669D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fr-FR"/>
        </a:p>
      </dgm:t>
    </dgm:pt>
    <dgm:pt modelId="{AE2B62A0-EA56-48B6-9D4E-3850B6B34ECF}" type="pres">
      <dgm:prSet presAssocID="{2E2D5AE0-E836-4EF0-92F5-02BC5CAB669D}" presName="topArc2" presStyleLbl="parChTrans1D1" presStyleIdx="10" presStyleCnt="12"/>
      <dgm:spPr/>
    </dgm:pt>
    <dgm:pt modelId="{F691CD0A-98EC-4F6A-BCC5-1B0620799196}" type="pres">
      <dgm:prSet presAssocID="{2E2D5AE0-E836-4EF0-92F5-02BC5CAB669D}" presName="bottomArc2" presStyleLbl="parChTrans1D1" presStyleIdx="11" presStyleCnt="12"/>
      <dgm:spPr/>
    </dgm:pt>
    <dgm:pt modelId="{EAC805CD-AF11-4613-A27D-F2C11BD092F8}" type="pres">
      <dgm:prSet presAssocID="{2E2D5AE0-E836-4EF0-92F5-02BC5CAB669D}" presName="topConnNode2" presStyleLbl="node2" presStyleIdx="0" presStyleCnt="0"/>
      <dgm:spPr/>
      <dgm:t>
        <a:bodyPr/>
        <a:lstStyle/>
        <a:p>
          <a:endParaRPr lang="fr-FR"/>
        </a:p>
      </dgm:t>
    </dgm:pt>
    <dgm:pt modelId="{160BAAE0-46F8-4DD3-A4FF-7EC80104945D}" type="pres">
      <dgm:prSet presAssocID="{2E2D5AE0-E836-4EF0-92F5-02BC5CAB669D}" presName="hierChild4" presStyleCnt="0"/>
      <dgm:spPr/>
    </dgm:pt>
    <dgm:pt modelId="{C6BE1345-6B6B-44CD-967E-ADF15033566D}" type="pres">
      <dgm:prSet presAssocID="{2E2D5AE0-E836-4EF0-92F5-02BC5CAB669D}" presName="hierChild5" presStyleCnt="0"/>
      <dgm:spPr/>
    </dgm:pt>
    <dgm:pt modelId="{C48682B7-412B-43AD-A5BE-4FDEB8A315EC}" type="pres">
      <dgm:prSet presAssocID="{5FB78C34-63B2-4C43-8DED-8D5462F2EA04}" presName="hierChild3" presStyleCnt="0"/>
      <dgm:spPr/>
    </dgm:pt>
  </dgm:ptLst>
  <dgm:cxnLst>
    <dgm:cxn modelId="{4F8FF41D-7BE4-4BBA-B04E-A32EBDBFA43B}" type="presOf" srcId="{9C3AFA3E-4C25-41A5-9D63-E356E0F10E51}" destId="{F61BBB84-2B88-4621-842A-B255870E087B}" srcOrd="0" destOrd="0" presId="urn:microsoft.com/office/officeart/2008/layout/HalfCircleOrganizationChart"/>
    <dgm:cxn modelId="{769D268C-9A2B-4708-BF8C-9B28A277DFFF}" type="presOf" srcId="{CF0A5CED-C1C2-4158-8048-A88D536927AC}" destId="{7E37369D-CA00-4BA9-BBB1-FF2769A7D94A}" srcOrd="1" destOrd="0" presId="urn:microsoft.com/office/officeart/2008/layout/HalfCircleOrganizationChart"/>
    <dgm:cxn modelId="{8A0C95D4-5298-4097-A66C-45AEFBF95A0C}" srcId="{5FB78C34-63B2-4C43-8DED-8D5462F2EA04}" destId="{CF0A5CED-C1C2-4158-8048-A88D536927AC}" srcOrd="0" destOrd="0" parTransId="{E38922E7-77C9-4CAB-A51F-58EB58A38729}" sibTransId="{31576C66-9691-486D-908B-C77F5D2EC157}"/>
    <dgm:cxn modelId="{329A05C2-F47B-4435-A719-D60834ADF019}" type="presOf" srcId="{23E53A09-8048-4CF0-9FD6-93A4EE470AD8}" destId="{682DC39E-D00E-48AC-B85B-DE1F1819081B}" srcOrd="0" destOrd="0" presId="urn:microsoft.com/office/officeart/2008/layout/HalfCircleOrganizationChart"/>
    <dgm:cxn modelId="{6D69AB84-9774-4AF0-80EE-F9B6B1251C9C}" srcId="{5FB78C34-63B2-4C43-8DED-8D5462F2EA04}" destId="{2E2D5AE0-E836-4EF0-92F5-02BC5CAB669D}" srcOrd="4" destOrd="0" parTransId="{7B39BD34-AC0B-49E2-980C-3EBA85608F73}" sibTransId="{72F2CFF4-A696-4639-B9DD-3EE1BB36FC9C}"/>
    <dgm:cxn modelId="{33518F59-E474-4778-B264-AD113BE86EC9}" srcId="{5FB78C34-63B2-4C43-8DED-8D5462F2EA04}" destId="{F07B6310-8C4A-4708-B9C7-D35F002AA4C8}" srcOrd="1" destOrd="0" parTransId="{C374E1B4-1503-4BAA-89B4-BDAB00C88DE8}" sibTransId="{344F303E-8A2E-4E3D-9C54-08721A952E1B}"/>
    <dgm:cxn modelId="{C4BA2697-016F-44ED-A6C7-1587877B6109}" type="presOf" srcId="{F07B6310-8C4A-4708-B9C7-D35F002AA4C8}" destId="{49E25081-EB74-4FD6-BD3C-C3A493296A6A}" srcOrd="0" destOrd="0" presId="urn:microsoft.com/office/officeart/2008/layout/HalfCircleOrganizationChart"/>
    <dgm:cxn modelId="{7741E925-69D1-49CE-BB05-C11181505DD8}" type="presOf" srcId="{7A345DB1-F0BD-4B0E-A17D-1746C9F94272}" destId="{ED8146C3-9F4A-4D7C-8EB9-160AC02D9FD0}" srcOrd="0" destOrd="0" presId="urn:microsoft.com/office/officeart/2008/layout/HalfCircleOrganizationChart"/>
    <dgm:cxn modelId="{D2B9D1E2-D0F2-44B2-96D5-238B77497243}" srcId="{5FB78C34-63B2-4C43-8DED-8D5462F2EA04}" destId="{7A345DB1-F0BD-4B0E-A17D-1746C9F94272}" srcOrd="2" destOrd="0" parTransId="{9C3AFA3E-4C25-41A5-9D63-E356E0F10E51}" sibTransId="{765307EF-6582-40E6-AE9B-DB79D3D273DD}"/>
    <dgm:cxn modelId="{39B3379F-B64C-4AE2-95C8-BE3CA3875813}" type="presOf" srcId="{C374E1B4-1503-4BAA-89B4-BDAB00C88DE8}" destId="{52CC4A71-B067-4002-91A2-D78AB31F10C7}" srcOrd="0" destOrd="0" presId="urn:microsoft.com/office/officeart/2008/layout/HalfCircleOrganizationChart"/>
    <dgm:cxn modelId="{881A05D7-52A6-4B1B-9864-178D3CE3F03D}" srcId="{CD2CF75E-C8E5-4928-8765-CA1A5DF1D65C}" destId="{5FB78C34-63B2-4C43-8DED-8D5462F2EA04}" srcOrd="0" destOrd="0" parTransId="{C46C9E00-5D25-4142-8388-35880EA08A37}" sibTransId="{D5D2307A-D1B7-4CC8-BAC8-AC3EF8DAD109}"/>
    <dgm:cxn modelId="{A1A0E620-4BEE-4FFF-8811-E27EF13E52DA}" type="presOf" srcId="{FD08FB48-45A4-4C36-8BAB-8300DA21F596}" destId="{846B46DE-5D9A-4824-AE04-5D99DB42C1D7}" srcOrd="1" destOrd="0" presId="urn:microsoft.com/office/officeart/2008/layout/HalfCircleOrganizationChart"/>
    <dgm:cxn modelId="{32A69F67-1892-41FC-9815-6AA22BA5FD6A}" type="presOf" srcId="{5FB78C34-63B2-4C43-8DED-8D5462F2EA04}" destId="{174D50A0-04B0-4CA8-A93F-DE4EB6E0C781}" srcOrd="0" destOrd="0" presId="urn:microsoft.com/office/officeart/2008/layout/HalfCircleOrganizationChart"/>
    <dgm:cxn modelId="{C05BD48A-A740-4302-AD81-3500547B0183}" type="presOf" srcId="{2E2D5AE0-E836-4EF0-92F5-02BC5CAB669D}" destId="{4E296E51-6C82-404E-A299-A4D3D1DB80C2}" srcOrd="0" destOrd="0" presId="urn:microsoft.com/office/officeart/2008/layout/HalfCircleOrganizationChart"/>
    <dgm:cxn modelId="{80F4FFFF-4FC4-4533-BDC7-65FCE3168B04}" type="presOf" srcId="{E38922E7-77C9-4CAB-A51F-58EB58A38729}" destId="{03CC2906-8B5F-4258-8CB7-D8D568CFA9D8}" srcOrd="0" destOrd="0" presId="urn:microsoft.com/office/officeart/2008/layout/HalfCircleOrganizationChart"/>
    <dgm:cxn modelId="{678C3249-F225-42D2-8218-97450221D153}" type="presOf" srcId="{2E2D5AE0-E836-4EF0-92F5-02BC5CAB669D}" destId="{EAC805CD-AF11-4613-A27D-F2C11BD092F8}" srcOrd="1" destOrd="0" presId="urn:microsoft.com/office/officeart/2008/layout/HalfCircleOrganizationChart"/>
    <dgm:cxn modelId="{86BB9FF8-8E77-4648-82C4-0DB6F3814728}" type="presOf" srcId="{7B39BD34-AC0B-49E2-980C-3EBA85608F73}" destId="{06B54D8E-7BF2-4222-B23B-B6ABC4533623}" srcOrd="0" destOrd="0" presId="urn:microsoft.com/office/officeart/2008/layout/HalfCircleOrganizationChart"/>
    <dgm:cxn modelId="{E6B3CCDF-2A92-47D7-BF32-5FDB1B461250}" srcId="{5FB78C34-63B2-4C43-8DED-8D5462F2EA04}" destId="{FD08FB48-45A4-4C36-8BAB-8300DA21F596}" srcOrd="3" destOrd="0" parTransId="{23E53A09-8048-4CF0-9FD6-93A4EE470AD8}" sibTransId="{56613AAC-8E83-4693-BB23-CD06B7EC9F56}"/>
    <dgm:cxn modelId="{7FBA6B79-D20D-49D1-8CD4-6581EEAD57A8}" type="presOf" srcId="{CD2CF75E-C8E5-4928-8765-CA1A5DF1D65C}" destId="{EE996D96-C39D-481B-BA0A-9ECD202A972F}" srcOrd="0" destOrd="0" presId="urn:microsoft.com/office/officeart/2008/layout/HalfCircleOrganizationChart"/>
    <dgm:cxn modelId="{BC60FEE1-BE2D-44E3-925F-646283BF348D}" type="presOf" srcId="{F07B6310-8C4A-4708-B9C7-D35F002AA4C8}" destId="{3733A8EB-A77F-4F87-B352-813B53F5F8DD}" srcOrd="1" destOrd="0" presId="urn:microsoft.com/office/officeart/2008/layout/HalfCircleOrganizationChart"/>
    <dgm:cxn modelId="{FC8BED3E-B20C-4A2B-A3F8-A048004C04F9}" type="presOf" srcId="{7A345DB1-F0BD-4B0E-A17D-1746C9F94272}" destId="{BC56C06E-8155-467C-9099-38688E51E1A7}" srcOrd="1" destOrd="0" presId="urn:microsoft.com/office/officeart/2008/layout/HalfCircleOrganizationChart"/>
    <dgm:cxn modelId="{608A76DC-A1C5-42E9-9342-9F809B4C0109}" type="presOf" srcId="{5FB78C34-63B2-4C43-8DED-8D5462F2EA04}" destId="{D9864F66-421F-417F-9043-4CE344BCEC15}" srcOrd="1" destOrd="0" presId="urn:microsoft.com/office/officeart/2008/layout/HalfCircleOrganizationChart"/>
    <dgm:cxn modelId="{66C1F219-E6D1-4D19-95B4-F40D0D47B0CC}" type="presOf" srcId="{FD08FB48-45A4-4C36-8BAB-8300DA21F596}" destId="{74FEB349-B365-40B2-8D65-3618AB87AA2F}" srcOrd="0" destOrd="0" presId="urn:microsoft.com/office/officeart/2008/layout/HalfCircleOrganizationChart"/>
    <dgm:cxn modelId="{789D0166-0B16-4E13-810D-667EBF935A12}" type="presOf" srcId="{CF0A5CED-C1C2-4158-8048-A88D536927AC}" destId="{7CD84260-E99E-41B0-84CE-A608D3A84D40}" srcOrd="0" destOrd="0" presId="urn:microsoft.com/office/officeart/2008/layout/HalfCircleOrganizationChart"/>
    <dgm:cxn modelId="{84C547C0-1286-47DB-8BF0-4FA91F1910BA}" type="presParOf" srcId="{EE996D96-C39D-481B-BA0A-9ECD202A972F}" destId="{0ACA41F9-DC46-4E12-BDF5-4A0CB1E88087}" srcOrd="0" destOrd="0" presId="urn:microsoft.com/office/officeart/2008/layout/HalfCircleOrganizationChart"/>
    <dgm:cxn modelId="{D466C87C-CAA7-42B3-8083-8736C989E555}" type="presParOf" srcId="{0ACA41F9-DC46-4E12-BDF5-4A0CB1E88087}" destId="{93DE0AC1-DBC5-4AF0-940A-0A81B519744D}" srcOrd="0" destOrd="0" presId="urn:microsoft.com/office/officeart/2008/layout/HalfCircleOrganizationChart"/>
    <dgm:cxn modelId="{9C282BD5-BB28-4DF5-A46A-825B858ACCA8}" type="presParOf" srcId="{93DE0AC1-DBC5-4AF0-940A-0A81B519744D}" destId="{174D50A0-04B0-4CA8-A93F-DE4EB6E0C781}" srcOrd="0" destOrd="0" presId="urn:microsoft.com/office/officeart/2008/layout/HalfCircleOrganizationChart"/>
    <dgm:cxn modelId="{83B4D6B0-38AB-426A-BE88-6A670C816E5B}" type="presParOf" srcId="{93DE0AC1-DBC5-4AF0-940A-0A81B519744D}" destId="{33A8B4D9-270E-47EF-9D05-F83D51DD0436}" srcOrd="1" destOrd="0" presId="urn:microsoft.com/office/officeart/2008/layout/HalfCircleOrganizationChart"/>
    <dgm:cxn modelId="{2B4869FE-FEF8-42FA-B1E2-0D9E6E68F114}" type="presParOf" srcId="{93DE0AC1-DBC5-4AF0-940A-0A81B519744D}" destId="{13F9DB8A-35CA-4681-88C7-4126F8CEC00A}" srcOrd="2" destOrd="0" presId="urn:microsoft.com/office/officeart/2008/layout/HalfCircleOrganizationChart"/>
    <dgm:cxn modelId="{C1CF5C9B-0800-4915-BE36-5340024D9612}" type="presParOf" srcId="{93DE0AC1-DBC5-4AF0-940A-0A81B519744D}" destId="{D9864F66-421F-417F-9043-4CE344BCEC15}" srcOrd="3" destOrd="0" presId="urn:microsoft.com/office/officeart/2008/layout/HalfCircleOrganizationChart"/>
    <dgm:cxn modelId="{33E728FB-9A6A-451C-B787-562834CF33B9}" type="presParOf" srcId="{0ACA41F9-DC46-4E12-BDF5-4A0CB1E88087}" destId="{76D35E06-484A-4983-B6C9-0B8D646D4813}" srcOrd="1" destOrd="0" presId="urn:microsoft.com/office/officeart/2008/layout/HalfCircleOrganizationChart"/>
    <dgm:cxn modelId="{F07D5448-BA4F-46F1-A5A4-430CF521C9C4}" type="presParOf" srcId="{76D35E06-484A-4983-B6C9-0B8D646D4813}" destId="{03CC2906-8B5F-4258-8CB7-D8D568CFA9D8}" srcOrd="0" destOrd="0" presId="urn:microsoft.com/office/officeart/2008/layout/HalfCircleOrganizationChart"/>
    <dgm:cxn modelId="{78403C46-C901-44FA-BF02-1BBF187BCAAF}" type="presParOf" srcId="{76D35E06-484A-4983-B6C9-0B8D646D4813}" destId="{0CBA4A94-D537-4F83-977D-90C0652BCE3A}" srcOrd="1" destOrd="0" presId="urn:microsoft.com/office/officeart/2008/layout/HalfCircleOrganizationChart"/>
    <dgm:cxn modelId="{1DE4E8EE-229F-4286-82C7-46A9DF09FA59}" type="presParOf" srcId="{0CBA4A94-D537-4F83-977D-90C0652BCE3A}" destId="{C1751AA4-1F3F-4A4F-BDA6-BA02B77FE61A}" srcOrd="0" destOrd="0" presId="urn:microsoft.com/office/officeart/2008/layout/HalfCircleOrganizationChart"/>
    <dgm:cxn modelId="{03936DB8-8DBE-4762-A160-636A36E564E9}" type="presParOf" srcId="{C1751AA4-1F3F-4A4F-BDA6-BA02B77FE61A}" destId="{7CD84260-E99E-41B0-84CE-A608D3A84D40}" srcOrd="0" destOrd="0" presId="urn:microsoft.com/office/officeart/2008/layout/HalfCircleOrganizationChart"/>
    <dgm:cxn modelId="{5EE0CCC6-4ABA-4F34-B4A3-97369574CFC0}" type="presParOf" srcId="{C1751AA4-1F3F-4A4F-BDA6-BA02B77FE61A}" destId="{AA68AC73-D73E-4878-8FFA-B72762ABFA86}" srcOrd="1" destOrd="0" presId="urn:microsoft.com/office/officeart/2008/layout/HalfCircleOrganizationChart"/>
    <dgm:cxn modelId="{60D16D2B-6F9B-4ECA-98DA-D3D22B9D52BD}" type="presParOf" srcId="{C1751AA4-1F3F-4A4F-BDA6-BA02B77FE61A}" destId="{72CBA170-F452-4FD9-B452-AE795BE1CFC3}" srcOrd="2" destOrd="0" presId="urn:microsoft.com/office/officeart/2008/layout/HalfCircleOrganizationChart"/>
    <dgm:cxn modelId="{DAE945D4-66F6-44BE-BD80-61E41190AE75}" type="presParOf" srcId="{C1751AA4-1F3F-4A4F-BDA6-BA02B77FE61A}" destId="{7E37369D-CA00-4BA9-BBB1-FF2769A7D94A}" srcOrd="3" destOrd="0" presId="urn:microsoft.com/office/officeart/2008/layout/HalfCircleOrganizationChart"/>
    <dgm:cxn modelId="{7EA60A97-C5AA-4DFF-880B-67B6C45CB939}" type="presParOf" srcId="{0CBA4A94-D537-4F83-977D-90C0652BCE3A}" destId="{AEF3F45C-FFA3-471B-9833-44AD838EBC26}" srcOrd="1" destOrd="0" presId="urn:microsoft.com/office/officeart/2008/layout/HalfCircleOrganizationChart"/>
    <dgm:cxn modelId="{48B20D20-4797-422E-993C-0AC7858E969B}" type="presParOf" srcId="{0CBA4A94-D537-4F83-977D-90C0652BCE3A}" destId="{52171571-CC08-40E1-9177-E47A40230EEC}" srcOrd="2" destOrd="0" presId="urn:microsoft.com/office/officeart/2008/layout/HalfCircleOrganizationChart"/>
    <dgm:cxn modelId="{82FC845C-7555-4740-A545-6A4110816878}" type="presParOf" srcId="{76D35E06-484A-4983-B6C9-0B8D646D4813}" destId="{52CC4A71-B067-4002-91A2-D78AB31F10C7}" srcOrd="2" destOrd="0" presId="urn:microsoft.com/office/officeart/2008/layout/HalfCircleOrganizationChart"/>
    <dgm:cxn modelId="{89796311-3F75-4633-AD68-3B072E3C5A58}" type="presParOf" srcId="{76D35E06-484A-4983-B6C9-0B8D646D4813}" destId="{8CEAC0DA-68A9-495A-BEBF-30932FFD1D6F}" srcOrd="3" destOrd="0" presId="urn:microsoft.com/office/officeart/2008/layout/HalfCircleOrganizationChart"/>
    <dgm:cxn modelId="{E6FE88F0-A43B-4102-A9D3-F9F2D2C9B173}" type="presParOf" srcId="{8CEAC0DA-68A9-495A-BEBF-30932FFD1D6F}" destId="{E921EBC5-3645-410F-97CA-F652D47557CE}" srcOrd="0" destOrd="0" presId="urn:microsoft.com/office/officeart/2008/layout/HalfCircleOrganizationChart"/>
    <dgm:cxn modelId="{B1F4A139-EACA-4EA0-A305-E30CF74213A1}" type="presParOf" srcId="{E921EBC5-3645-410F-97CA-F652D47557CE}" destId="{49E25081-EB74-4FD6-BD3C-C3A493296A6A}" srcOrd="0" destOrd="0" presId="urn:microsoft.com/office/officeart/2008/layout/HalfCircleOrganizationChart"/>
    <dgm:cxn modelId="{59F0FED8-AA4F-4773-9514-37DAC47FCFAD}" type="presParOf" srcId="{E921EBC5-3645-410F-97CA-F652D47557CE}" destId="{B71B8661-62ED-4B27-AC93-209CB40DE754}" srcOrd="1" destOrd="0" presId="urn:microsoft.com/office/officeart/2008/layout/HalfCircleOrganizationChart"/>
    <dgm:cxn modelId="{7ED21D8B-0A4B-49B3-A3E9-959A6DD89631}" type="presParOf" srcId="{E921EBC5-3645-410F-97CA-F652D47557CE}" destId="{13928CC3-2428-45F4-9E35-9653BB81EF42}" srcOrd="2" destOrd="0" presId="urn:microsoft.com/office/officeart/2008/layout/HalfCircleOrganizationChart"/>
    <dgm:cxn modelId="{6FE1FAD5-7B53-4F95-A7D2-0AC09C984887}" type="presParOf" srcId="{E921EBC5-3645-410F-97CA-F652D47557CE}" destId="{3733A8EB-A77F-4F87-B352-813B53F5F8DD}" srcOrd="3" destOrd="0" presId="urn:microsoft.com/office/officeart/2008/layout/HalfCircleOrganizationChart"/>
    <dgm:cxn modelId="{CBFA4404-9A58-4279-8F21-D74CDD015DF6}" type="presParOf" srcId="{8CEAC0DA-68A9-495A-BEBF-30932FFD1D6F}" destId="{0C3364AD-16F0-45CB-9512-0726AC2A884A}" srcOrd="1" destOrd="0" presId="urn:microsoft.com/office/officeart/2008/layout/HalfCircleOrganizationChart"/>
    <dgm:cxn modelId="{21564CF6-3F92-4BA2-B235-BEEEEA52E24A}" type="presParOf" srcId="{8CEAC0DA-68A9-495A-BEBF-30932FFD1D6F}" destId="{8C9101FE-E80C-4C40-95C6-09CA49818916}" srcOrd="2" destOrd="0" presId="urn:microsoft.com/office/officeart/2008/layout/HalfCircleOrganizationChart"/>
    <dgm:cxn modelId="{8DA17914-4D30-4470-92D1-27B399F65E9F}" type="presParOf" srcId="{76D35E06-484A-4983-B6C9-0B8D646D4813}" destId="{F61BBB84-2B88-4621-842A-B255870E087B}" srcOrd="4" destOrd="0" presId="urn:microsoft.com/office/officeart/2008/layout/HalfCircleOrganizationChart"/>
    <dgm:cxn modelId="{ECBE723B-3A32-43C6-8AE8-3297A3F52A46}" type="presParOf" srcId="{76D35E06-484A-4983-B6C9-0B8D646D4813}" destId="{CC77F3D6-FA51-42DA-A747-71B88661A030}" srcOrd="5" destOrd="0" presId="urn:microsoft.com/office/officeart/2008/layout/HalfCircleOrganizationChart"/>
    <dgm:cxn modelId="{F777C16F-09B1-459D-9648-D1438D2237E0}" type="presParOf" srcId="{CC77F3D6-FA51-42DA-A747-71B88661A030}" destId="{38BCF4B1-0B4C-4E67-BE4C-036C06E12CB8}" srcOrd="0" destOrd="0" presId="urn:microsoft.com/office/officeart/2008/layout/HalfCircleOrganizationChart"/>
    <dgm:cxn modelId="{99B4FC65-36DE-4FC0-ABA3-AFC86981FB46}" type="presParOf" srcId="{38BCF4B1-0B4C-4E67-BE4C-036C06E12CB8}" destId="{ED8146C3-9F4A-4D7C-8EB9-160AC02D9FD0}" srcOrd="0" destOrd="0" presId="urn:microsoft.com/office/officeart/2008/layout/HalfCircleOrganizationChart"/>
    <dgm:cxn modelId="{008A1D36-D2C2-4196-B815-EB7B652461C2}" type="presParOf" srcId="{38BCF4B1-0B4C-4E67-BE4C-036C06E12CB8}" destId="{5274F423-969B-49BC-A7E9-FE930F57F7E6}" srcOrd="1" destOrd="0" presId="urn:microsoft.com/office/officeart/2008/layout/HalfCircleOrganizationChart"/>
    <dgm:cxn modelId="{0E6E1EA3-C6ED-4C25-A0BB-1649A96599A0}" type="presParOf" srcId="{38BCF4B1-0B4C-4E67-BE4C-036C06E12CB8}" destId="{B72D4779-CB67-433B-B356-2EA073362D7A}" srcOrd="2" destOrd="0" presId="urn:microsoft.com/office/officeart/2008/layout/HalfCircleOrganizationChart"/>
    <dgm:cxn modelId="{5B658532-39F3-4365-BB6F-92FB8455347D}" type="presParOf" srcId="{38BCF4B1-0B4C-4E67-BE4C-036C06E12CB8}" destId="{BC56C06E-8155-467C-9099-38688E51E1A7}" srcOrd="3" destOrd="0" presId="urn:microsoft.com/office/officeart/2008/layout/HalfCircleOrganizationChart"/>
    <dgm:cxn modelId="{0D057D2F-B10E-464D-B6DB-3F4086A669E0}" type="presParOf" srcId="{CC77F3D6-FA51-42DA-A747-71B88661A030}" destId="{4358F247-D433-4F00-A943-96CA6E4C569F}" srcOrd="1" destOrd="0" presId="urn:microsoft.com/office/officeart/2008/layout/HalfCircleOrganizationChart"/>
    <dgm:cxn modelId="{1B230113-6EDB-44C0-9F5D-7909045E52CA}" type="presParOf" srcId="{CC77F3D6-FA51-42DA-A747-71B88661A030}" destId="{D986E5C5-8C9F-4EAE-81F5-D182E36F93F5}" srcOrd="2" destOrd="0" presId="urn:microsoft.com/office/officeart/2008/layout/HalfCircleOrganizationChart"/>
    <dgm:cxn modelId="{F5361A90-12C2-448D-A8A4-7A8BD75542F6}" type="presParOf" srcId="{76D35E06-484A-4983-B6C9-0B8D646D4813}" destId="{682DC39E-D00E-48AC-B85B-DE1F1819081B}" srcOrd="6" destOrd="0" presId="urn:microsoft.com/office/officeart/2008/layout/HalfCircleOrganizationChart"/>
    <dgm:cxn modelId="{82F8F620-13BB-4D92-9AFF-52D14E527FF1}" type="presParOf" srcId="{76D35E06-484A-4983-B6C9-0B8D646D4813}" destId="{6F0B3A05-2B76-4876-B906-6EA993FBA3E2}" srcOrd="7" destOrd="0" presId="urn:microsoft.com/office/officeart/2008/layout/HalfCircleOrganizationChart"/>
    <dgm:cxn modelId="{D829BE11-B500-4FB0-BC87-F022812DC24B}" type="presParOf" srcId="{6F0B3A05-2B76-4876-B906-6EA993FBA3E2}" destId="{8E5154EF-44D8-4C84-B825-8A7C443348D4}" srcOrd="0" destOrd="0" presId="urn:microsoft.com/office/officeart/2008/layout/HalfCircleOrganizationChart"/>
    <dgm:cxn modelId="{433383A6-5E29-44AB-833F-D276F6B4A726}" type="presParOf" srcId="{8E5154EF-44D8-4C84-B825-8A7C443348D4}" destId="{74FEB349-B365-40B2-8D65-3618AB87AA2F}" srcOrd="0" destOrd="0" presId="urn:microsoft.com/office/officeart/2008/layout/HalfCircleOrganizationChart"/>
    <dgm:cxn modelId="{7DF0CE79-F41C-4753-B93B-6CB70E00CE0E}" type="presParOf" srcId="{8E5154EF-44D8-4C84-B825-8A7C443348D4}" destId="{E854C1C3-1E0E-4C13-8B0B-8ACADA187CF8}" srcOrd="1" destOrd="0" presId="urn:microsoft.com/office/officeart/2008/layout/HalfCircleOrganizationChart"/>
    <dgm:cxn modelId="{9CE28352-0B4E-40C2-B4B6-CF6B1150D6A5}" type="presParOf" srcId="{8E5154EF-44D8-4C84-B825-8A7C443348D4}" destId="{4213ECA4-B682-491B-813D-0AD53C9DEDB2}" srcOrd="2" destOrd="0" presId="urn:microsoft.com/office/officeart/2008/layout/HalfCircleOrganizationChart"/>
    <dgm:cxn modelId="{0EC29B39-F39E-44AA-A43E-47F0EC8FA1B1}" type="presParOf" srcId="{8E5154EF-44D8-4C84-B825-8A7C443348D4}" destId="{846B46DE-5D9A-4824-AE04-5D99DB42C1D7}" srcOrd="3" destOrd="0" presId="urn:microsoft.com/office/officeart/2008/layout/HalfCircleOrganizationChart"/>
    <dgm:cxn modelId="{3E501CE9-4DED-4FDC-85E7-ED3607BC88E4}" type="presParOf" srcId="{6F0B3A05-2B76-4876-B906-6EA993FBA3E2}" destId="{8944E683-C994-4055-97D1-4E1AFE15CE0F}" srcOrd="1" destOrd="0" presId="urn:microsoft.com/office/officeart/2008/layout/HalfCircleOrganizationChart"/>
    <dgm:cxn modelId="{0D85AB07-9F69-48FA-BE5E-7E4729838814}" type="presParOf" srcId="{6F0B3A05-2B76-4876-B906-6EA993FBA3E2}" destId="{284D7528-D249-4191-80F4-4F289567F90E}" srcOrd="2" destOrd="0" presId="urn:microsoft.com/office/officeart/2008/layout/HalfCircleOrganizationChart"/>
    <dgm:cxn modelId="{1B3654CE-7359-446B-8187-7389CCEE96DD}" type="presParOf" srcId="{76D35E06-484A-4983-B6C9-0B8D646D4813}" destId="{06B54D8E-7BF2-4222-B23B-B6ABC4533623}" srcOrd="8" destOrd="0" presId="urn:microsoft.com/office/officeart/2008/layout/HalfCircleOrganizationChart"/>
    <dgm:cxn modelId="{10226179-B3BF-4D37-B803-9D2FC0EB98A8}" type="presParOf" srcId="{76D35E06-484A-4983-B6C9-0B8D646D4813}" destId="{73D50620-4067-40A0-A241-7ACF6CA148C1}" srcOrd="9" destOrd="0" presId="urn:microsoft.com/office/officeart/2008/layout/HalfCircleOrganizationChart"/>
    <dgm:cxn modelId="{BE126A72-51FF-43F6-AC01-7FB7FE4BEAA2}" type="presParOf" srcId="{73D50620-4067-40A0-A241-7ACF6CA148C1}" destId="{1D8797EC-90BB-4B1F-9954-C77EAD1E4410}" srcOrd="0" destOrd="0" presId="urn:microsoft.com/office/officeart/2008/layout/HalfCircleOrganizationChart"/>
    <dgm:cxn modelId="{D716C15F-FFDF-4ED7-B9E6-D21AEF142720}" type="presParOf" srcId="{1D8797EC-90BB-4B1F-9954-C77EAD1E4410}" destId="{4E296E51-6C82-404E-A299-A4D3D1DB80C2}" srcOrd="0" destOrd="0" presId="urn:microsoft.com/office/officeart/2008/layout/HalfCircleOrganizationChart"/>
    <dgm:cxn modelId="{A236C667-E118-431F-996E-5EEA7A8970EF}" type="presParOf" srcId="{1D8797EC-90BB-4B1F-9954-C77EAD1E4410}" destId="{AE2B62A0-EA56-48B6-9D4E-3850B6B34ECF}" srcOrd="1" destOrd="0" presId="urn:microsoft.com/office/officeart/2008/layout/HalfCircleOrganizationChart"/>
    <dgm:cxn modelId="{A9B746D4-0246-47CD-9B98-F0DF87974BD6}" type="presParOf" srcId="{1D8797EC-90BB-4B1F-9954-C77EAD1E4410}" destId="{F691CD0A-98EC-4F6A-BCC5-1B0620799196}" srcOrd="2" destOrd="0" presId="urn:microsoft.com/office/officeart/2008/layout/HalfCircleOrganizationChart"/>
    <dgm:cxn modelId="{FA453366-97F4-4A93-9DE8-117E85D8CC4E}" type="presParOf" srcId="{1D8797EC-90BB-4B1F-9954-C77EAD1E4410}" destId="{EAC805CD-AF11-4613-A27D-F2C11BD092F8}" srcOrd="3" destOrd="0" presId="urn:microsoft.com/office/officeart/2008/layout/HalfCircleOrganizationChart"/>
    <dgm:cxn modelId="{24D0CA33-CE1E-46F7-BF0B-165D62FE4AAE}" type="presParOf" srcId="{73D50620-4067-40A0-A241-7ACF6CA148C1}" destId="{160BAAE0-46F8-4DD3-A4FF-7EC80104945D}" srcOrd="1" destOrd="0" presId="urn:microsoft.com/office/officeart/2008/layout/HalfCircleOrganizationChart"/>
    <dgm:cxn modelId="{83064F38-47EE-4361-ADDC-F29D95CCF548}" type="presParOf" srcId="{73D50620-4067-40A0-A241-7ACF6CA148C1}" destId="{C6BE1345-6B6B-44CD-967E-ADF15033566D}" srcOrd="2" destOrd="0" presId="urn:microsoft.com/office/officeart/2008/layout/HalfCircleOrganizationChart"/>
    <dgm:cxn modelId="{869E0460-B6B2-4791-8A23-9BD5B403A487}" type="presParOf" srcId="{0ACA41F9-DC46-4E12-BDF5-4A0CB1E88087}" destId="{C48682B7-412B-43AD-A5BE-4FDEB8A315EC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51AF30-8BD6-42A5-8435-68F7CA957D8D}">
      <dsp:nvSpPr>
        <dsp:cNvPr id="0" name=""/>
        <dsp:cNvSpPr/>
      </dsp:nvSpPr>
      <dsp:spPr>
        <a:xfrm rot="5400000">
          <a:off x="3935046" y="-1362473"/>
          <a:ext cx="1249523" cy="4291584"/>
        </a:xfrm>
        <a:prstGeom prst="round2SameRect">
          <a:avLst/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Thématique A</a:t>
          </a:r>
          <a:endParaRPr lang="fr-FR" sz="3300" kern="1200" dirty="0"/>
        </a:p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Thématique B</a:t>
          </a:r>
          <a:endParaRPr lang="fr-FR" sz="3300" kern="1200" dirty="0"/>
        </a:p>
      </dsp:txBody>
      <dsp:txXfrm rot="-5400000">
        <a:off x="2414016" y="219554"/>
        <a:ext cx="4230587" cy="1127529"/>
      </dsp:txXfrm>
    </dsp:sp>
    <dsp:sp modelId="{326DE10F-E03A-4C14-A962-9BD441984E30}">
      <dsp:nvSpPr>
        <dsp:cNvPr id="0" name=""/>
        <dsp:cNvSpPr/>
      </dsp:nvSpPr>
      <dsp:spPr>
        <a:xfrm>
          <a:off x="0" y="2366"/>
          <a:ext cx="2414016" cy="1561904"/>
        </a:xfrm>
        <a:prstGeom prst="roundRect">
          <a:avLst/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900" kern="1200" dirty="0" smtClean="0"/>
            <a:t>Les actions issues des différentes portes d’entrée de la rosace sont classées par thématique</a:t>
          </a:r>
        </a:p>
      </dsp:txBody>
      <dsp:txXfrm>
        <a:off x="76246" y="78612"/>
        <a:ext cx="2261524" cy="1409412"/>
      </dsp:txXfrm>
    </dsp:sp>
    <dsp:sp modelId="{24C696AB-6905-48E7-9ED7-812F63D28C15}">
      <dsp:nvSpPr>
        <dsp:cNvPr id="0" name=""/>
        <dsp:cNvSpPr/>
      </dsp:nvSpPr>
      <dsp:spPr>
        <a:xfrm rot="5400000">
          <a:off x="3935046" y="277527"/>
          <a:ext cx="1249523" cy="4291584"/>
        </a:xfrm>
        <a:prstGeom prst="round2SameRect">
          <a:avLst/>
        </a:prstGeom>
        <a:gradFill rotWithShape="1">
          <a:gsLst>
            <a:gs pos="0">
              <a:schemeClr val="accent2">
                <a:tint val="50000"/>
                <a:satMod val="300000"/>
              </a:schemeClr>
            </a:gs>
            <a:gs pos="35000">
              <a:schemeClr val="accent2">
                <a:tint val="37000"/>
                <a:satMod val="300000"/>
              </a:schemeClr>
            </a:gs>
            <a:gs pos="100000">
              <a:schemeClr val="accent2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Action n°5 porte 1</a:t>
          </a:r>
          <a:endParaRPr lang="fr-FR" sz="3300" kern="1200" dirty="0"/>
        </a:p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Action n°2 porte 5</a:t>
          </a:r>
          <a:endParaRPr lang="fr-FR" sz="3300" kern="1200" dirty="0"/>
        </a:p>
      </dsp:txBody>
      <dsp:txXfrm rot="-5400000">
        <a:off x="2414016" y="1859555"/>
        <a:ext cx="4230587" cy="1127529"/>
      </dsp:txXfrm>
    </dsp:sp>
    <dsp:sp modelId="{7EB3BBAD-DE80-47F8-88AE-A7CC979BF362}">
      <dsp:nvSpPr>
        <dsp:cNvPr id="0" name=""/>
        <dsp:cNvSpPr/>
      </dsp:nvSpPr>
      <dsp:spPr>
        <a:xfrm>
          <a:off x="0" y="1642366"/>
          <a:ext cx="2414016" cy="1561904"/>
        </a:xfrm>
        <a:prstGeom prst="roundRect">
          <a:avLst/>
        </a:prstGeom>
        <a:gradFill rotWithShape="1">
          <a:gsLst>
            <a:gs pos="0">
              <a:schemeClr val="accent3">
                <a:tint val="100000"/>
                <a:shade val="100000"/>
                <a:satMod val="130000"/>
              </a:schemeClr>
            </a:gs>
            <a:gs pos="100000">
              <a:schemeClr val="accent3"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900" kern="1200" dirty="0" smtClean="0"/>
            <a:t>Thématique A</a:t>
          </a:r>
          <a:endParaRPr lang="fr-FR" sz="1900" kern="1200" dirty="0"/>
        </a:p>
      </dsp:txBody>
      <dsp:txXfrm>
        <a:off x="76246" y="1718612"/>
        <a:ext cx="2261524" cy="1409412"/>
      </dsp:txXfrm>
    </dsp:sp>
    <dsp:sp modelId="{CBF4C949-E81D-4765-AAC3-D87FB9B516DB}">
      <dsp:nvSpPr>
        <dsp:cNvPr id="0" name=""/>
        <dsp:cNvSpPr/>
      </dsp:nvSpPr>
      <dsp:spPr>
        <a:xfrm rot="5400000">
          <a:off x="3935046" y="1917527"/>
          <a:ext cx="1249523" cy="4291584"/>
        </a:xfrm>
        <a:prstGeom prst="round2SameRect">
          <a:avLst/>
        </a:prstGeom>
        <a:gradFill rotWithShape="1">
          <a:gsLst>
            <a:gs pos="0">
              <a:schemeClr val="accent2">
                <a:tint val="100000"/>
                <a:shade val="100000"/>
                <a:satMod val="130000"/>
              </a:schemeClr>
            </a:gs>
            <a:gs pos="100000">
              <a:schemeClr val="accent2">
                <a:tint val="50000"/>
                <a:shade val="100000"/>
                <a:satMod val="350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125730" tIns="62865" rIns="125730" bIns="62865" numCol="1" spcCol="1270" anchor="ctr" anchorCtr="0">
          <a:noAutofit/>
        </a:bodyPr>
        <a:lstStyle/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Action n°3 porte 2</a:t>
          </a:r>
          <a:endParaRPr lang="fr-FR" sz="3300" kern="1200" dirty="0"/>
        </a:p>
        <a:p>
          <a:pPr marL="285750" lvl="1" indent="-285750" algn="l" defTabSz="1466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3300" kern="1200" dirty="0" smtClean="0"/>
            <a:t>Action n°4 porte 1</a:t>
          </a:r>
          <a:endParaRPr lang="fr-FR" sz="3300" kern="1200" dirty="0"/>
        </a:p>
      </dsp:txBody>
      <dsp:txXfrm rot="-5400000">
        <a:off x="2414016" y="3499555"/>
        <a:ext cx="4230587" cy="1127529"/>
      </dsp:txXfrm>
    </dsp:sp>
    <dsp:sp modelId="{263CA987-B71D-4CA3-BAD4-AB1F2A73E65A}">
      <dsp:nvSpPr>
        <dsp:cNvPr id="0" name=""/>
        <dsp:cNvSpPr/>
      </dsp:nvSpPr>
      <dsp:spPr>
        <a:xfrm>
          <a:off x="0" y="3282366"/>
          <a:ext cx="2414016" cy="15619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36195" rIns="72390" bIns="3619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900" kern="1200" dirty="0" smtClean="0"/>
            <a:t>Thématique B</a:t>
          </a:r>
          <a:endParaRPr lang="fr-FR" sz="1900" kern="1200" dirty="0"/>
        </a:p>
      </dsp:txBody>
      <dsp:txXfrm>
        <a:off x="76246" y="3358612"/>
        <a:ext cx="2261524" cy="140941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7A446B-7A25-40B6-9942-C23418DCAA8C}">
      <dsp:nvSpPr>
        <dsp:cNvPr id="0" name=""/>
        <dsp:cNvSpPr/>
      </dsp:nvSpPr>
      <dsp:spPr>
        <a:xfrm rot="5400000">
          <a:off x="3832939" y="-1558508"/>
          <a:ext cx="624681" cy="3901440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dirty="0" smtClean="0"/>
            <a:t>Argument 1</a:t>
          </a:r>
          <a:endParaRPr lang="fr-FR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dirty="0" smtClean="0"/>
            <a:t>Argument 2…</a:t>
          </a:r>
          <a:endParaRPr lang="fr-FR" sz="1600" kern="1200" dirty="0"/>
        </a:p>
      </dsp:txBody>
      <dsp:txXfrm rot="-5400000">
        <a:off x="2194560" y="110365"/>
        <a:ext cx="3870946" cy="563693"/>
      </dsp:txXfrm>
    </dsp:sp>
    <dsp:sp modelId="{F569545F-A1F4-4EAE-9EEC-5A573C80D519}">
      <dsp:nvSpPr>
        <dsp:cNvPr id="0" name=""/>
        <dsp:cNvSpPr/>
      </dsp:nvSpPr>
      <dsp:spPr>
        <a:xfrm>
          <a:off x="0" y="1785"/>
          <a:ext cx="2194560" cy="78085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kern="1200" dirty="0" smtClean="0"/>
            <a:t>1</a:t>
          </a:r>
          <a:r>
            <a:rPr lang="fr-FR" sz="2700" kern="1200" baseline="30000" dirty="0" smtClean="0"/>
            <a:t>er</a:t>
          </a:r>
          <a:r>
            <a:rPr lang="fr-FR" sz="2700" kern="1200" dirty="0" smtClean="0"/>
            <a:t> message</a:t>
          </a:r>
          <a:endParaRPr lang="fr-FR" sz="2700" kern="1200" dirty="0"/>
        </a:p>
      </dsp:txBody>
      <dsp:txXfrm>
        <a:off x="38118" y="39903"/>
        <a:ext cx="2118324" cy="704615"/>
      </dsp:txXfrm>
    </dsp:sp>
    <dsp:sp modelId="{E0033ABC-3B86-4C34-A6A6-6D1910B0AEF1}">
      <dsp:nvSpPr>
        <dsp:cNvPr id="0" name=""/>
        <dsp:cNvSpPr/>
      </dsp:nvSpPr>
      <dsp:spPr>
        <a:xfrm rot="5400000">
          <a:off x="3832939" y="-738614"/>
          <a:ext cx="624681" cy="3901440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smtClean="0"/>
            <a:t>Argument 1</a:t>
          </a:r>
          <a:endParaRPr lang="fr-FR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dirty="0" smtClean="0"/>
            <a:t>Argument 2…</a:t>
          </a:r>
          <a:endParaRPr lang="fr-FR" sz="1600" kern="1200" dirty="0"/>
        </a:p>
      </dsp:txBody>
      <dsp:txXfrm rot="-5400000">
        <a:off x="2194560" y="930259"/>
        <a:ext cx="3870946" cy="563693"/>
      </dsp:txXfrm>
    </dsp:sp>
    <dsp:sp modelId="{F06E9053-FB6B-4E2E-B7F6-75EC2CBFAB0A}">
      <dsp:nvSpPr>
        <dsp:cNvPr id="0" name=""/>
        <dsp:cNvSpPr/>
      </dsp:nvSpPr>
      <dsp:spPr>
        <a:xfrm>
          <a:off x="0" y="821680"/>
          <a:ext cx="2194560" cy="78085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kern="1200" dirty="0" smtClean="0"/>
            <a:t>2</a:t>
          </a:r>
          <a:r>
            <a:rPr lang="fr-FR" sz="2700" kern="1200" baseline="30000" dirty="0" smtClean="0"/>
            <a:t>ème</a:t>
          </a:r>
          <a:r>
            <a:rPr lang="fr-FR" sz="2700" kern="1200" dirty="0" smtClean="0"/>
            <a:t> message</a:t>
          </a:r>
          <a:endParaRPr lang="fr-FR" sz="2700" kern="1200" dirty="0"/>
        </a:p>
      </dsp:txBody>
      <dsp:txXfrm>
        <a:off x="38118" y="859798"/>
        <a:ext cx="2118324" cy="704615"/>
      </dsp:txXfrm>
    </dsp:sp>
    <dsp:sp modelId="{CE0E5133-EFA3-40AA-B690-70FB7DFF9923}">
      <dsp:nvSpPr>
        <dsp:cNvPr id="0" name=""/>
        <dsp:cNvSpPr/>
      </dsp:nvSpPr>
      <dsp:spPr>
        <a:xfrm rot="5400000">
          <a:off x="3832939" y="81279"/>
          <a:ext cx="624681" cy="3901440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smtClean="0"/>
            <a:t>Argument 1</a:t>
          </a:r>
          <a:endParaRPr lang="fr-FR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dirty="0" smtClean="0"/>
            <a:t>Argument 2…</a:t>
          </a:r>
          <a:endParaRPr lang="fr-FR" sz="1600" kern="1200" dirty="0"/>
        </a:p>
      </dsp:txBody>
      <dsp:txXfrm rot="-5400000">
        <a:off x="2194560" y="1750152"/>
        <a:ext cx="3870946" cy="563693"/>
      </dsp:txXfrm>
    </dsp:sp>
    <dsp:sp modelId="{73F88056-CC1B-425A-AC71-6F207175C8B3}">
      <dsp:nvSpPr>
        <dsp:cNvPr id="0" name=""/>
        <dsp:cNvSpPr/>
      </dsp:nvSpPr>
      <dsp:spPr>
        <a:xfrm>
          <a:off x="0" y="1641574"/>
          <a:ext cx="2194560" cy="78085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kern="1200" dirty="0" smtClean="0"/>
            <a:t>3</a:t>
          </a:r>
          <a:r>
            <a:rPr lang="fr-FR" sz="2700" kern="1200" baseline="30000" dirty="0" smtClean="0"/>
            <a:t>ème</a:t>
          </a:r>
          <a:r>
            <a:rPr lang="fr-FR" sz="2700" kern="1200" dirty="0" smtClean="0"/>
            <a:t> message</a:t>
          </a:r>
          <a:endParaRPr lang="fr-FR" sz="2700" kern="1200" dirty="0"/>
        </a:p>
      </dsp:txBody>
      <dsp:txXfrm>
        <a:off x="38118" y="1679692"/>
        <a:ext cx="2118324" cy="704615"/>
      </dsp:txXfrm>
    </dsp:sp>
    <dsp:sp modelId="{2AE0A23F-B5E9-4AE2-A365-94A215F385DC}">
      <dsp:nvSpPr>
        <dsp:cNvPr id="0" name=""/>
        <dsp:cNvSpPr/>
      </dsp:nvSpPr>
      <dsp:spPr>
        <a:xfrm rot="5400000">
          <a:off x="3832939" y="901174"/>
          <a:ext cx="624681" cy="3901440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dirty="0" smtClean="0"/>
            <a:t>Argument 1</a:t>
          </a:r>
          <a:endParaRPr lang="fr-FR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600" kern="1200" dirty="0" smtClean="0"/>
            <a:t>Argument 2…</a:t>
          </a:r>
          <a:endParaRPr lang="fr-FR" sz="1600" kern="1200" dirty="0"/>
        </a:p>
      </dsp:txBody>
      <dsp:txXfrm rot="-5400000">
        <a:off x="2194560" y="2570047"/>
        <a:ext cx="3870946" cy="563693"/>
      </dsp:txXfrm>
    </dsp:sp>
    <dsp:sp modelId="{7553060D-A988-4BA7-879F-4F9450E26B8D}">
      <dsp:nvSpPr>
        <dsp:cNvPr id="0" name=""/>
        <dsp:cNvSpPr/>
      </dsp:nvSpPr>
      <dsp:spPr>
        <a:xfrm>
          <a:off x="0" y="2461468"/>
          <a:ext cx="2194560" cy="78085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kern="1200" dirty="0" smtClean="0"/>
            <a:t>4</a:t>
          </a:r>
          <a:r>
            <a:rPr lang="fr-FR" sz="2700" kern="1200" baseline="30000" dirty="0" smtClean="0"/>
            <a:t>ème</a:t>
          </a:r>
          <a:r>
            <a:rPr lang="fr-FR" sz="2700" kern="1200" dirty="0" smtClean="0"/>
            <a:t> message</a:t>
          </a:r>
          <a:endParaRPr lang="fr-FR" sz="2700" kern="1200" dirty="0"/>
        </a:p>
      </dsp:txBody>
      <dsp:txXfrm>
        <a:off x="38118" y="2499586"/>
        <a:ext cx="2118324" cy="704615"/>
      </dsp:txXfrm>
    </dsp:sp>
    <dsp:sp modelId="{D38F2EFA-306E-4D2D-80BC-25548EDC810C}">
      <dsp:nvSpPr>
        <dsp:cNvPr id="0" name=""/>
        <dsp:cNvSpPr/>
      </dsp:nvSpPr>
      <dsp:spPr>
        <a:xfrm>
          <a:off x="0" y="3281362"/>
          <a:ext cx="2194560" cy="78085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700" kern="1200" dirty="0" smtClean="0"/>
            <a:t>Compléter…</a:t>
          </a:r>
          <a:endParaRPr lang="fr-FR" sz="2700" kern="1200" dirty="0"/>
        </a:p>
      </dsp:txBody>
      <dsp:txXfrm>
        <a:off x="38118" y="3319480"/>
        <a:ext cx="2118324" cy="70461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3917A2-DF58-4AD0-9842-40F724F2BBF7}">
      <dsp:nvSpPr>
        <dsp:cNvPr id="0" name=""/>
        <dsp:cNvSpPr/>
      </dsp:nvSpPr>
      <dsp:spPr>
        <a:xfrm>
          <a:off x="0" y="488837"/>
          <a:ext cx="7987553" cy="699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9923" tIns="249936" rIns="619923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err="1" smtClean="0"/>
            <a:t>Obj</a:t>
          </a:r>
          <a:r>
            <a:rPr lang="fr-FR" sz="1200" kern="1200" dirty="0" smtClean="0"/>
            <a:t> spécifique 1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err="1" smtClean="0"/>
            <a:t>Obj</a:t>
          </a:r>
          <a:r>
            <a:rPr lang="fr-FR" sz="1200" kern="1200" dirty="0" smtClean="0"/>
            <a:t> spécifique 2…</a:t>
          </a:r>
          <a:endParaRPr lang="fr-FR" sz="1200" kern="1200" dirty="0"/>
        </a:p>
      </dsp:txBody>
      <dsp:txXfrm>
        <a:off x="0" y="488837"/>
        <a:ext cx="7987553" cy="699300"/>
      </dsp:txXfrm>
    </dsp:sp>
    <dsp:sp modelId="{97316B73-D945-46BA-AA35-F7A9EC4CD4CD}">
      <dsp:nvSpPr>
        <dsp:cNvPr id="0" name=""/>
        <dsp:cNvSpPr/>
      </dsp:nvSpPr>
      <dsp:spPr>
        <a:xfrm>
          <a:off x="399377" y="311717"/>
          <a:ext cx="5591287" cy="3542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1337" tIns="0" rIns="211337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Améliorer les organisations internes : pilote d’action </a:t>
          </a:r>
          <a:endParaRPr lang="fr-FR" sz="1200" kern="1200" dirty="0"/>
        </a:p>
      </dsp:txBody>
      <dsp:txXfrm>
        <a:off x="416670" y="329010"/>
        <a:ext cx="5556701" cy="319654"/>
      </dsp:txXfrm>
    </dsp:sp>
    <dsp:sp modelId="{04E69B66-8219-4641-9B87-3403A709362F}">
      <dsp:nvSpPr>
        <dsp:cNvPr id="0" name=""/>
        <dsp:cNvSpPr/>
      </dsp:nvSpPr>
      <dsp:spPr>
        <a:xfrm>
          <a:off x="0" y="1430057"/>
          <a:ext cx="7987553" cy="699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9923" tIns="249936" rIns="619923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err="1" smtClean="0"/>
            <a:t>Obj</a:t>
          </a:r>
          <a:r>
            <a:rPr lang="fr-FR" sz="1200" kern="1200" dirty="0" smtClean="0"/>
            <a:t> spécifique 1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err="1" smtClean="0"/>
            <a:t>Obj</a:t>
          </a:r>
          <a:r>
            <a:rPr lang="fr-FR" sz="1200" kern="1200" dirty="0" smtClean="0"/>
            <a:t> spécifique 2…</a:t>
          </a:r>
          <a:endParaRPr lang="fr-FR" sz="1200" kern="1200" dirty="0"/>
        </a:p>
      </dsp:txBody>
      <dsp:txXfrm>
        <a:off x="0" y="1430057"/>
        <a:ext cx="7987553" cy="699300"/>
      </dsp:txXfrm>
    </dsp:sp>
    <dsp:sp modelId="{AA8826D7-5D0E-44FB-B797-AA9D6AA6A927}">
      <dsp:nvSpPr>
        <dsp:cNvPr id="0" name=""/>
        <dsp:cNvSpPr/>
      </dsp:nvSpPr>
      <dsp:spPr>
        <a:xfrm>
          <a:off x="399377" y="1252937"/>
          <a:ext cx="5591287" cy="3542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1337" tIns="0" rIns="211337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Renforcer l’accessibilité : pilote d’action</a:t>
          </a:r>
          <a:endParaRPr lang="fr-FR" sz="1200" kern="1200" dirty="0"/>
        </a:p>
      </dsp:txBody>
      <dsp:txXfrm>
        <a:off x="416670" y="1270230"/>
        <a:ext cx="5556701" cy="319654"/>
      </dsp:txXfrm>
    </dsp:sp>
    <dsp:sp modelId="{306168C2-B084-4F03-8409-E964DE853171}">
      <dsp:nvSpPr>
        <dsp:cNvPr id="0" name=""/>
        <dsp:cNvSpPr/>
      </dsp:nvSpPr>
      <dsp:spPr>
        <a:xfrm>
          <a:off x="0" y="2371277"/>
          <a:ext cx="7987553" cy="699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9923" tIns="249936" rIns="619923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err="1" smtClean="0"/>
            <a:t>Obj</a:t>
          </a:r>
          <a:r>
            <a:rPr lang="fr-FR" sz="1200" kern="1200" dirty="0" smtClean="0"/>
            <a:t> spécifique 1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err="1" smtClean="0"/>
            <a:t>Obj</a:t>
          </a:r>
          <a:r>
            <a:rPr lang="fr-FR" sz="1200" kern="1200" dirty="0" smtClean="0"/>
            <a:t> spécifique 2…</a:t>
          </a:r>
          <a:endParaRPr lang="fr-FR" sz="1200" kern="1200" dirty="0"/>
        </a:p>
      </dsp:txBody>
      <dsp:txXfrm>
        <a:off x="0" y="2371277"/>
        <a:ext cx="7987553" cy="699300"/>
      </dsp:txXfrm>
    </dsp:sp>
    <dsp:sp modelId="{C6D7D300-FD8C-4813-BA2A-EA0B9CD63C33}">
      <dsp:nvSpPr>
        <dsp:cNvPr id="0" name=""/>
        <dsp:cNvSpPr/>
      </dsp:nvSpPr>
      <dsp:spPr>
        <a:xfrm>
          <a:off x="399377" y="2194157"/>
          <a:ext cx="5591287" cy="3542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1337" tIns="0" rIns="211337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Développer et diffuser des outils : pilote d’action</a:t>
          </a:r>
          <a:endParaRPr lang="fr-FR" sz="1200" kern="1200" dirty="0"/>
        </a:p>
      </dsp:txBody>
      <dsp:txXfrm>
        <a:off x="416670" y="2211450"/>
        <a:ext cx="5556701" cy="319654"/>
      </dsp:txXfrm>
    </dsp:sp>
    <dsp:sp modelId="{EC39BAB0-173F-4FAB-B8FF-FBC1FBCA7ECF}">
      <dsp:nvSpPr>
        <dsp:cNvPr id="0" name=""/>
        <dsp:cNvSpPr/>
      </dsp:nvSpPr>
      <dsp:spPr>
        <a:xfrm>
          <a:off x="0" y="3312498"/>
          <a:ext cx="7987553" cy="6993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9923" tIns="249936" rIns="619923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err="1" smtClean="0"/>
            <a:t>Obj</a:t>
          </a:r>
          <a:r>
            <a:rPr lang="fr-FR" sz="1200" kern="1200" dirty="0" smtClean="0"/>
            <a:t> spécifique 1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200" kern="1200" dirty="0" err="1" smtClean="0"/>
            <a:t>Obj</a:t>
          </a:r>
          <a:r>
            <a:rPr lang="fr-FR" sz="1200" kern="1200" dirty="0" smtClean="0"/>
            <a:t> spécifique 2…</a:t>
          </a:r>
          <a:endParaRPr lang="fr-FR" sz="1200" kern="1200" dirty="0"/>
        </a:p>
      </dsp:txBody>
      <dsp:txXfrm>
        <a:off x="0" y="3312498"/>
        <a:ext cx="7987553" cy="699300"/>
      </dsp:txXfrm>
    </dsp:sp>
    <dsp:sp modelId="{76419B06-DA4E-4928-AD0F-6B92D7A18135}">
      <dsp:nvSpPr>
        <dsp:cNvPr id="0" name=""/>
        <dsp:cNvSpPr/>
      </dsp:nvSpPr>
      <dsp:spPr>
        <a:xfrm>
          <a:off x="438017" y="3135378"/>
          <a:ext cx="5591287" cy="3542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1337" tIns="0" rIns="211337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Rendre l’offre plus lisible pour les professionnels et les usagers : pilote d’action</a:t>
          </a:r>
          <a:endParaRPr lang="fr-FR" sz="1200" kern="1200" dirty="0"/>
        </a:p>
      </dsp:txBody>
      <dsp:txXfrm>
        <a:off x="455310" y="3152671"/>
        <a:ext cx="5556701" cy="319654"/>
      </dsp:txXfrm>
    </dsp:sp>
    <dsp:sp modelId="{A81E53F0-AB1E-4F22-B24A-107976AD1F13}">
      <dsp:nvSpPr>
        <dsp:cNvPr id="0" name=""/>
        <dsp:cNvSpPr/>
      </dsp:nvSpPr>
      <dsp:spPr>
        <a:xfrm>
          <a:off x="0" y="4253718"/>
          <a:ext cx="7987553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9208DC-86A3-44E0-94BA-E4F200050A51}">
      <dsp:nvSpPr>
        <dsp:cNvPr id="0" name=""/>
        <dsp:cNvSpPr/>
      </dsp:nvSpPr>
      <dsp:spPr>
        <a:xfrm>
          <a:off x="399377" y="4076598"/>
          <a:ext cx="5591287" cy="35424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1337" tIns="0" rIns="211337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kern="1200" dirty="0" smtClean="0"/>
            <a:t>Compléter…</a:t>
          </a:r>
          <a:endParaRPr lang="fr-FR" sz="1200" kern="1200" dirty="0"/>
        </a:p>
      </dsp:txBody>
      <dsp:txXfrm>
        <a:off x="416670" y="4093891"/>
        <a:ext cx="5556701" cy="31965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B54D8E-7BF2-4222-B23B-B6ABC4533623}">
      <dsp:nvSpPr>
        <dsp:cNvPr id="0" name=""/>
        <dsp:cNvSpPr/>
      </dsp:nvSpPr>
      <dsp:spPr>
        <a:xfrm>
          <a:off x="3352800" y="1848326"/>
          <a:ext cx="2778215" cy="2410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542"/>
              </a:lnTo>
              <a:lnTo>
                <a:pt x="2778215" y="120542"/>
              </a:lnTo>
              <a:lnTo>
                <a:pt x="2778215" y="24108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2DC39E-D00E-48AC-B85B-DE1F1819081B}">
      <dsp:nvSpPr>
        <dsp:cNvPr id="0" name=""/>
        <dsp:cNvSpPr/>
      </dsp:nvSpPr>
      <dsp:spPr>
        <a:xfrm>
          <a:off x="3352800" y="1848326"/>
          <a:ext cx="1389107" cy="2410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542"/>
              </a:lnTo>
              <a:lnTo>
                <a:pt x="1389107" y="120542"/>
              </a:lnTo>
              <a:lnTo>
                <a:pt x="1389107" y="24108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1BBB84-2B88-4621-842A-B255870E087B}">
      <dsp:nvSpPr>
        <dsp:cNvPr id="0" name=""/>
        <dsp:cNvSpPr/>
      </dsp:nvSpPr>
      <dsp:spPr>
        <a:xfrm>
          <a:off x="3307080" y="1848326"/>
          <a:ext cx="91440" cy="24108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4108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CC4A71-B067-4002-91A2-D78AB31F10C7}">
      <dsp:nvSpPr>
        <dsp:cNvPr id="0" name=""/>
        <dsp:cNvSpPr/>
      </dsp:nvSpPr>
      <dsp:spPr>
        <a:xfrm>
          <a:off x="1963692" y="1848326"/>
          <a:ext cx="1389107" cy="241084"/>
        </a:xfrm>
        <a:custGeom>
          <a:avLst/>
          <a:gdLst/>
          <a:ahLst/>
          <a:cxnLst/>
          <a:rect l="0" t="0" r="0" b="0"/>
          <a:pathLst>
            <a:path>
              <a:moveTo>
                <a:pt x="1389107" y="0"/>
              </a:moveTo>
              <a:lnTo>
                <a:pt x="1389107" y="120542"/>
              </a:lnTo>
              <a:lnTo>
                <a:pt x="0" y="120542"/>
              </a:lnTo>
              <a:lnTo>
                <a:pt x="0" y="24108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3CC2906-8B5F-4258-8CB7-D8D568CFA9D8}">
      <dsp:nvSpPr>
        <dsp:cNvPr id="0" name=""/>
        <dsp:cNvSpPr/>
      </dsp:nvSpPr>
      <dsp:spPr>
        <a:xfrm>
          <a:off x="574584" y="1848326"/>
          <a:ext cx="2778215" cy="241084"/>
        </a:xfrm>
        <a:custGeom>
          <a:avLst/>
          <a:gdLst/>
          <a:ahLst/>
          <a:cxnLst/>
          <a:rect l="0" t="0" r="0" b="0"/>
          <a:pathLst>
            <a:path>
              <a:moveTo>
                <a:pt x="2778215" y="0"/>
              </a:moveTo>
              <a:lnTo>
                <a:pt x="2778215" y="120542"/>
              </a:lnTo>
              <a:lnTo>
                <a:pt x="0" y="120542"/>
              </a:lnTo>
              <a:lnTo>
                <a:pt x="0" y="241084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A8B4D9-270E-47EF-9D05-F83D51DD0436}">
      <dsp:nvSpPr>
        <dsp:cNvPr id="0" name=""/>
        <dsp:cNvSpPr/>
      </dsp:nvSpPr>
      <dsp:spPr>
        <a:xfrm>
          <a:off x="3065794" y="1274314"/>
          <a:ext cx="574011" cy="574011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F9DB8A-35CA-4681-88C7-4126F8CEC00A}">
      <dsp:nvSpPr>
        <dsp:cNvPr id="0" name=""/>
        <dsp:cNvSpPr/>
      </dsp:nvSpPr>
      <dsp:spPr>
        <a:xfrm>
          <a:off x="3065794" y="1274314"/>
          <a:ext cx="574011" cy="574011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74D50A0-04B0-4CA8-A93F-DE4EB6E0C781}">
      <dsp:nvSpPr>
        <dsp:cNvPr id="0" name=""/>
        <dsp:cNvSpPr/>
      </dsp:nvSpPr>
      <dsp:spPr>
        <a:xfrm>
          <a:off x="2778788" y="1377636"/>
          <a:ext cx="1148022" cy="36736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Equipe projet ou groupe projet</a:t>
          </a:r>
          <a:endParaRPr lang="fr-FR" sz="1000" kern="1200" dirty="0"/>
        </a:p>
      </dsp:txBody>
      <dsp:txXfrm>
        <a:off x="2778788" y="1377636"/>
        <a:ext cx="1148022" cy="367367"/>
      </dsp:txXfrm>
    </dsp:sp>
    <dsp:sp modelId="{AA68AC73-D73E-4878-8FFA-B72762ABFA86}">
      <dsp:nvSpPr>
        <dsp:cNvPr id="0" name=""/>
        <dsp:cNvSpPr/>
      </dsp:nvSpPr>
      <dsp:spPr>
        <a:xfrm>
          <a:off x="287578" y="2089410"/>
          <a:ext cx="574011" cy="574011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CBA170-F452-4FD9-B452-AE795BE1CFC3}">
      <dsp:nvSpPr>
        <dsp:cNvPr id="0" name=""/>
        <dsp:cNvSpPr/>
      </dsp:nvSpPr>
      <dsp:spPr>
        <a:xfrm>
          <a:off x="287578" y="2089410"/>
          <a:ext cx="574011" cy="574011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D84260-E99E-41B0-84CE-A608D3A84D40}">
      <dsp:nvSpPr>
        <dsp:cNvPr id="0" name=""/>
        <dsp:cNvSpPr/>
      </dsp:nvSpPr>
      <dsp:spPr>
        <a:xfrm>
          <a:off x="572" y="2192732"/>
          <a:ext cx="1148022" cy="36736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Pilotes portefeuille d’actions</a:t>
          </a:r>
          <a:endParaRPr lang="fr-FR" sz="1000" kern="1200" dirty="0"/>
        </a:p>
      </dsp:txBody>
      <dsp:txXfrm>
        <a:off x="572" y="2192732"/>
        <a:ext cx="1148022" cy="367367"/>
      </dsp:txXfrm>
    </dsp:sp>
    <dsp:sp modelId="{B71B8661-62ED-4B27-AC93-209CB40DE754}">
      <dsp:nvSpPr>
        <dsp:cNvPr id="0" name=""/>
        <dsp:cNvSpPr/>
      </dsp:nvSpPr>
      <dsp:spPr>
        <a:xfrm>
          <a:off x="1676686" y="2089410"/>
          <a:ext cx="574011" cy="574011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928CC3-2428-45F4-9E35-9653BB81EF42}">
      <dsp:nvSpPr>
        <dsp:cNvPr id="0" name=""/>
        <dsp:cNvSpPr/>
      </dsp:nvSpPr>
      <dsp:spPr>
        <a:xfrm>
          <a:off x="1676686" y="2089410"/>
          <a:ext cx="574011" cy="574011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E25081-EB74-4FD6-BD3C-C3A493296A6A}">
      <dsp:nvSpPr>
        <dsp:cNvPr id="0" name=""/>
        <dsp:cNvSpPr/>
      </dsp:nvSpPr>
      <dsp:spPr>
        <a:xfrm>
          <a:off x="1389680" y="2192732"/>
          <a:ext cx="1148022" cy="36736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Pilotes portefeuille d’actions</a:t>
          </a:r>
          <a:endParaRPr lang="fr-FR" sz="1000" kern="1200" dirty="0"/>
        </a:p>
      </dsp:txBody>
      <dsp:txXfrm>
        <a:off x="1389680" y="2192732"/>
        <a:ext cx="1148022" cy="367367"/>
      </dsp:txXfrm>
    </dsp:sp>
    <dsp:sp modelId="{5274F423-969B-49BC-A7E9-FE930F57F7E6}">
      <dsp:nvSpPr>
        <dsp:cNvPr id="0" name=""/>
        <dsp:cNvSpPr/>
      </dsp:nvSpPr>
      <dsp:spPr>
        <a:xfrm>
          <a:off x="3065794" y="2089410"/>
          <a:ext cx="574011" cy="574011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2D4779-CB67-433B-B356-2EA073362D7A}">
      <dsp:nvSpPr>
        <dsp:cNvPr id="0" name=""/>
        <dsp:cNvSpPr/>
      </dsp:nvSpPr>
      <dsp:spPr>
        <a:xfrm>
          <a:off x="3065794" y="2089410"/>
          <a:ext cx="574011" cy="574011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8146C3-9F4A-4D7C-8EB9-160AC02D9FD0}">
      <dsp:nvSpPr>
        <dsp:cNvPr id="0" name=""/>
        <dsp:cNvSpPr/>
      </dsp:nvSpPr>
      <dsp:spPr>
        <a:xfrm>
          <a:off x="2778788" y="2192732"/>
          <a:ext cx="1148022" cy="36736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Pilotes portefeuille d’actions</a:t>
          </a:r>
          <a:endParaRPr lang="fr-FR" sz="1000" kern="1200" dirty="0"/>
        </a:p>
      </dsp:txBody>
      <dsp:txXfrm>
        <a:off x="2778788" y="2192732"/>
        <a:ext cx="1148022" cy="367367"/>
      </dsp:txXfrm>
    </dsp:sp>
    <dsp:sp modelId="{E854C1C3-1E0E-4C13-8B0B-8ACADA187CF8}">
      <dsp:nvSpPr>
        <dsp:cNvPr id="0" name=""/>
        <dsp:cNvSpPr/>
      </dsp:nvSpPr>
      <dsp:spPr>
        <a:xfrm>
          <a:off x="4454902" y="2089410"/>
          <a:ext cx="574011" cy="574011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13ECA4-B682-491B-813D-0AD53C9DEDB2}">
      <dsp:nvSpPr>
        <dsp:cNvPr id="0" name=""/>
        <dsp:cNvSpPr/>
      </dsp:nvSpPr>
      <dsp:spPr>
        <a:xfrm>
          <a:off x="4454902" y="2089410"/>
          <a:ext cx="574011" cy="574011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FEB349-B365-40B2-8D65-3618AB87AA2F}">
      <dsp:nvSpPr>
        <dsp:cNvPr id="0" name=""/>
        <dsp:cNvSpPr/>
      </dsp:nvSpPr>
      <dsp:spPr>
        <a:xfrm>
          <a:off x="4167896" y="2192732"/>
          <a:ext cx="1148022" cy="36736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Pilotes portefeuille d’actions</a:t>
          </a:r>
          <a:endParaRPr lang="fr-FR" sz="1000" kern="1200" dirty="0"/>
        </a:p>
      </dsp:txBody>
      <dsp:txXfrm>
        <a:off x="4167896" y="2192732"/>
        <a:ext cx="1148022" cy="367367"/>
      </dsp:txXfrm>
    </dsp:sp>
    <dsp:sp modelId="{AE2B62A0-EA56-48B6-9D4E-3850B6B34ECF}">
      <dsp:nvSpPr>
        <dsp:cNvPr id="0" name=""/>
        <dsp:cNvSpPr/>
      </dsp:nvSpPr>
      <dsp:spPr>
        <a:xfrm>
          <a:off x="5844009" y="2089410"/>
          <a:ext cx="574011" cy="574011"/>
        </a:xfrm>
        <a:prstGeom prst="arc">
          <a:avLst>
            <a:gd name="adj1" fmla="val 13200000"/>
            <a:gd name="adj2" fmla="val 192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91CD0A-98EC-4F6A-BCC5-1B0620799196}">
      <dsp:nvSpPr>
        <dsp:cNvPr id="0" name=""/>
        <dsp:cNvSpPr/>
      </dsp:nvSpPr>
      <dsp:spPr>
        <a:xfrm>
          <a:off x="5844009" y="2089410"/>
          <a:ext cx="574011" cy="574011"/>
        </a:xfrm>
        <a:prstGeom prst="arc">
          <a:avLst>
            <a:gd name="adj1" fmla="val 2400000"/>
            <a:gd name="adj2" fmla="val 8400000"/>
          </a:avLst>
        </a:pr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296E51-6C82-404E-A299-A4D3D1DB80C2}">
      <dsp:nvSpPr>
        <dsp:cNvPr id="0" name=""/>
        <dsp:cNvSpPr/>
      </dsp:nvSpPr>
      <dsp:spPr>
        <a:xfrm>
          <a:off x="5557004" y="2192732"/>
          <a:ext cx="1148022" cy="36736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Pilotes portefeuille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 d’actions </a:t>
          </a:r>
          <a:endParaRPr lang="fr-FR" sz="1000" kern="1200" dirty="0"/>
        </a:p>
      </dsp:txBody>
      <dsp:txXfrm>
        <a:off x="5557004" y="2192732"/>
        <a:ext cx="1148022" cy="3673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2163" y="0"/>
            <a:ext cx="3075480" cy="512304"/>
          </a:xfrm>
          <a:prstGeom prst="rect">
            <a:avLst/>
          </a:prstGeom>
        </p:spPr>
        <p:txBody>
          <a:bodyPr vert="horz" lIns="95337" tIns="47668" rIns="95337" bIns="47668" rtlCol="0"/>
          <a:lstStyle>
            <a:lvl1pPr algn="r">
              <a:defRPr sz="1200" b="0"/>
            </a:lvl1pPr>
          </a:lstStyle>
          <a:p>
            <a:pPr>
              <a:defRPr/>
            </a:pPr>
            <a:fld id="{FD8D37FF-4F79-47D3-8B88-CA5BEAE0DA59}" type="datetimeFigureOut">
              <a:rPr lang="fr-FR"/>
              <a:pPr>
                <a:defRPr/>
              </a:pPr>
              <a:t>29/07/2016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0675"/>
            <a:ext cx="3075480" cy="512303"/>
          </a:xfrm>
          <a:prstGeom prst="rect">
            <a:avLst/>
          </a:prstGeom>
        </p:spPr>
        <p:txBody>
          <a:bodyPr vert="horz" lIns="95337" tIns="47668" rIns="95337" bIns="47668" rtlCol="0" anchor="b"/>
          <a:lstStyle>
            <a:lvl1pPr algn="l">
              <a:defRPr sz="1200" b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2163" y="9720675"/>
            <a:ext cx="3075480" cy="512303"/>
          </a:xfrm>
          <a:prstGeom prst="rect">
            <a:avLst/>
          </a:prstGeom>
        </p:spPr>
        <p:txBody>
          <a:bodyPr vert="horz" lIns="95337" tIns="47668" rIns="95337" bIns="47668" rtlCol="0" anchor="b"/>
          <a:lstStyle>
            <a:lvl1pPr algn="r">
              <a:defRPr sz="1200" b="0"/>
            </a:lvl1pPr>
          </a:lstStyle>
          <a:p>
            <a:pPr>
              <a:defRPr/>
            </a:pPr>
            <a:fld id="{2D8B48FA-3B99-4E5E-B9EF-2F6CF06A7F9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6" name="Espace réservé de l'en-tête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60466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5480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7" tIns="47668" rIns="95337" bIns="47668" numCol="1" anchor="t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163" y="0"/>
            <a:ext cx="3075480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7" tIns="47668" rIns="95337" bIns="47668" numCol="1" anchor="t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00" y="4861155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7" tIns="47668" rIns="95337" bIns="476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5"/>
            <a:ext cx="3075480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7" tIns="47668" rIns="95337" bIns="47668" numCol="1" anchor="b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163" y="9720675"/>
            <a:ext cx="3075480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37" tIns="47668" rIns="95337" bIns="47668" numCol="1" anchor="b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pPr>
              <a:defRPr/>
            </a:pPr>
            <a:fld id="{FBFA2ACA-53B6-42D6-81EA-3B8890E54B7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8742212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BFA2ACA-53B6-42D6-81EA-3B8890E54B7F}" type="slidenum">
              <a:rPr lang="fr-FR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87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COUV_PPT_01_OK.png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file://localhost/Users/pixelis/Desktop/pour%20masque%20PPT/marianne-cartouche.wmf" TargetMode="External"/><Relationship Id="rId4" Type="http://schemas.openxmlformats.org/officeDocument/2006/relationships/image" Target="../media/image3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1_OK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1_OK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2_OK.png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2_OK.png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2_OK.png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2_OK.png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1_OK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1_OK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2_OK.png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2_OK.png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2_OK.png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SLIDE_PPT_v2_OK.png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pixelis/Desktop/pour%20masque%20PPT/COUV_PPT_01_OK.png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file://localhost/Users/pixelis/Desktop/pour%20masque%20PPT/marianne-cartouche.wmf" TargetMode="External"/><Relationship Id="rId4" Type="http://schemas.openxmlformats.org/officeDocument/2006/relationships/image" Target="../media/image3.w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 AN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UV_PPT_01_OK.png" descr="/Users/pixelis/Desktop/pour masque PPT/COUV_PPT_01_OK.png"/>
          <p:cNvPicPr>
            <a:picLocks noChangeAspect="1"/>
          </p:cNvPicPr>
          <p:nvPr/>
        </p:nvPicPr>
        <p:blipFill>
          <a:blip r:embed="rId2" r:link="rId3" cstate="print"/>
          <a:stretch>
            <a:fillRect/>
          </a:stretch>
        </p:blipFill>
        <p:spPr>
          <a:xfrm>
            <a:off x="756" y="0"/>
            <a:ext cx="9143244" cy="6857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spcAft>
                <a:spcPts val="3600"/>
              </a:spcAft>
              <a:defRPr sz="3200" b="1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85800" y="3778160"/>
            <a:ext cx="7772400" cy="457200"/>
          </a:xfrm>
          <a:prstGeom prst="rect">
            <a:avLst/>
          </a:prstGeom>
        </p:spPr>
        <p:txBody>
          <a:bodyPr wrap="none"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  <p:sp>
        <p:nvSpPr>
          <p:cNvPr id="9" name="ZoneTexte 8"/>
          <p:cNvSpPr txBox="1"/>
          <p:nvPr/>
        </p:nvSpPr>
        <p:spPr>
          <a:xfrm>
            <a:off x="184195" y="6176616"/>
            <a:ext cx="2514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  <a:t>Agence Nationale d’Appui à la Performance </a:t>
            </a:r>
            <a:b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  <a:t>des établissements de santé et médico-sociaux</a:t>
            </a:r>
          </a:p>
          <a:p>
            <a:endParaRPr lang="fr-FR" sz="8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0" name="marianne-cartouche.wmf" descr="/Users/pixelis/Desktop/pour masque PPT/marianne-cartouche.wmf"/>
          <p:cNvPicPr>
            <a:picLocks noChangeAspect="1"/>
          </p:cNvPicPr>
          <p:nvPr/>
        </p:nvPicPr>
        <p:blipFill>
          <a:blip r:embed="rId4" r:link="rId5" cstate="print"/>
          <a:stretch>
            <a:fillRect/>
          </a:stretch>
        </p:blipFill>
        <p:spPr>
          <a:xfrm>
            <a:off x="8166956" y="6085412"/>
            <a:ext cx="582488" cy="391588"/>
          </a:xfrm>
          <a:prstGeom prst="rect">
            <a:avLst/>
          </a:prstGeom>
        </p:spPr>
      </p:pic>
      <p:pic>
        <p:nvPicPr>
          <p:cNvPr id="8" name="COUV_PPT_01_OK.png" descr="/Users/pixelis/Desktop/pour masque PPT/COUV_PPT_01_OK.png"/>
          <p:cNvPicPr>
            <a:picLocks noChangeAspect="1"/>
          </p:cNvPicPr>
          <p:nvPr userDrawn="1"/>
        </p:nvPicPr>
        <p:blipFill>
          <a:blip r:embed="rId2" r:link="rId3" cstate="print"/>
          <a:stretch>
            <a:fillRect/>
          </a:stretch>
        </p:blipFill>
        <p:spPr>
          <a:xfrm>
            <a:off x="756" y="0"/>
            <a:ext cx="9143244" cy="6857433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184195" y="6176616"/>
            <a:ext cx="2514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  <a:t>Agence Nationale d’Appui à la Performance </a:t>
            </a:r>
            <a:b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  <a:t>des établissements de santé et médico-sociaux</a:t>
            </a:r>
          </a:p>
          <a:p>
            <a:endParaRPr lang="fr-FR" sz="8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2" name="marianne-cartouche.wmf" descr="/Users/pixelis/Desktop/pour masque PPT/marianne-cartouche.wmf"/>
          <p:cNvPicPr>
            <a:picLocks noChangeAspect="1"/>
          </p:cNvPicPr>
          <p:nvPr userDrawn="1"/>
        </p:nvPicPr>
        <p:blipFill>
          <a:blip r:embed="rId4" r:link="rId5" cstate="print"/>
          <a:stretch>
            <a:fillRect/>
          </a:stretch>
        </p:blipFill>
        <p:spPr>
          <a:xfrm>
            <a:off x="8166956" y="6085412"/>
            <a:ext cx="582488" cy="39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94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ourante ANAP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DE_PPT_v1_OK.png" descr="/Users/pixelis/Desktop/pour masque PPT/SLIDE_PPT_v1_OK.png"/>
          <p:cNvPicPr>
            <a:picLocks noChangeAspect="1"/>
          </p:cNvPicPr>
          <p:nvPr/>
        </p:nvPicPr>
        <p:blipFill>
          <a:blip r:embed="rId2" r:link="rId3" cstate="print"/>
          <a:stretch>
            <a:fillRect/>
          </a:stretch>
        </p:blipFill>
        <p:spPr>
          <a:xfrm>
            <a:off x="0" y="0"/>
            <a:ext cx="2944125" cy="6857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387224" y="228600"/>
            <a:ext cx="6705600" cy="628632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2209800" y="1447800"/>
            <a:ext cx="6705600" cy="4846674"/>
          </a:xfrm>
          <a:prstGeom prst="rect">
            <a:avLst/>
          </a:prstGeom>
        </p:spPr>
        <p:txBody>
          <a:bodyPr>
            <a:noAutofit/>
          </a:bodyPr>
          <a:lstStyle>
            <a:lvl1pPr marL="177800" indent="-177800">
              <a:buSzPct val="100000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541338" indent="-185738">
              <a:buSzPct val="100000"/>
              <a:buFont typeface="Arial" pitchFamily="34" charset="0"/>
              <a:buChar char="−"/>
              <a:tabLst>
                <a:tab pos="541338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71596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  <p:pic>
        <p:nvPicPr>
          <p:cNvPr id="9" name="SLIDE_PPT_v1_OK.png" descr="/Users/pixelis/Desktop/pour masque PPT/SLIDE_PPT_v1_OK.png"/>
          <p:cNvPicPr>
            <a:picLocks noChangeAspect="1"/>
          </p:cNvPicPr>
          <p:nvPr userDrawn="1"/>
        </p:nvPicPr>
        <p:blipFill>
          <a:blip r:embed="rId2" r:link="rId3" cstate="print"/>
          <a:stretch>
            <a:fillRect/>
          </a:stretch>
        </p:blipFill>
        <p:spPr>
          <a:xfrm>
            <a:off x="0" y="0"/>
            <a:ext cx="2944125" cy="6857433"/>
          </a:xfrm>
          <a:prstGeom prst="rect">
            <a:avLst/>
          </a:prstGeom>
        </p:spPr>
      </p:pic>
      <p:sp>
        <p:nvSpPr>
          <p:cNvPr id="10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9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ide anap ver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DE_PPT_v1_OK.png" descr="/Users/pixelis/Desktop/pour masque PPT/SLIDE_PPT_v1_OK.png"/>
          <p:cNvPicPr>
            <a:picLocks noChangeAspect="1"/>
          </p:cNvPicPr>
          <p:nvPr/>
        </p:nvPicPr>
        <p:blipFill>
          <a:blip r:embed="rId2" r:link="rId3" cstate="print"/>
          <a:stretch>
            <a:fillRect/>
          </a:stretch>
        </p:blipFill>
        <p:spPr>
          <a:xfrm>
            <a:off x="0" y="0"/>
            <a:ext cx="2944125" cy="6857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387224" y="228600"/>
            <a:ext cx="6705600" cy="628632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5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  <p:pic>
        <p:nvPicPr>
          <p:cNvPr id="7" name="SLIDE_PPT_v1_OK.png" descr="/Users/pixelis/Desktop/pour masque PPT/SLIDE_PPT_v1_OK.png"/>
          <p:cNvPicPr>
            <a:picLocks noChangeAspect="1"/>
          </p:cNvPicPr>
          <p:nvPr userDrawn="1"/>
        </p:nvPicPr>
        <p:blipFill>
          <a:blip r:embed="rId2" r:link="rId3" cstate="print"/>
          <a:stretch>
            <a:fillRect/>
          </a:stretch>
        </p:blipFill>
        <p:spPr>
          <a:xfrm>
            <a:off x="0" y="0"/>
            <a:ext cx="2944125" cy="6857433"/>
          </a:xfrm>
          <a:prstGeom prst="rect">
            <a:avLst/>
          </a:prstGeom>
        </p:spPr>
      </p:pic>
      <p:sp>
        <p:nvSpPr>
          <p:cNvPr id="8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06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lide courante ANA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280972" y="709016"/>
            <a:ext cx="873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  <p:sp>
        <p:nvSpPr>
          <p:cNvPr id="7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280972" y="1379560"/>
            <a:ext cx="8730000" cy="5104800"/>
          </a:xfrm>
          <a:prstGeom prst="rect">
            <a:avLst/>
          </a:prstGeom>
        </p:spPr>
        <p:txBody>
          <a:bodyPr>
            <a:noAutofit/>
          </a:bodyPr>
          <a:lstStyle>
            <a:lvl1pPr marL="273050" indent="-177800">
              <a:buSzPct val="100000"/>
              <a:buFont typeface="Arial" pitchFamily="34" charset="0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622300" indent="-185738">
              <a:buSzPct val="100000"/>
              <a:buFont typeface="Arial" pitchFamily="34" charset="0"/>
              <a:buChar char="−"/>
              <a:tabLst>
                <a:tab pos="627063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81121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pic>
        <p:nvPicPr>
          <p:cNvPr id="8" name="SLIDE_PPT_v2_OK.png" descr="/Users/pixelis/Desktop/pour masque PPT/SLIDE_PPT_v2_OK.png"/>
          <p:cNvPicPr>
            <a:picLocks noChangeAspect="1"/>
          </p:cNvPicPr>
          <p:nvPr userDrawn="1"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1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  <p:sp>
        <p:nvSpPr>
          <p:cNvPr id="12" name="ZoneTexte 11"/>
          <p:cNvSpPr txBox="1"/>
          <p:nvPr userDrawn="1"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133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lide courante ANA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280972" y="709016"/>
            <a:ext cx="873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  <p:sp>
        <p:nvSpPr>
          <p:cNvPr id="7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280972" y="1379560"/>
            <a:ext cx="4129200" cy="5104800"/>
          </a:xfrm>
          <a:prstGeom prst="rect">
            <a:avLst/>
          </a:prstGeom>
        </p:spPr>
        <p:txBody>
          <a:bodyPr>
            <a:noAutofit/>
          </a:bodyPr>
          <a:lstStyle>
            <a:lvl1pPr marL="273050" indent="-177800">
              <a:buSzPct val="100000"/>
              <a:buFont typeface="Arial" pitchFamily="34" charset="0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622300" indent="-185738">
              <a:buSzPct val="100000"/>
              <a:buFont typeface="Arial" pitchFamily="34" charset="0"/>
              <a:buChar char="−"/>
              <a:tabLst>
                <a:tab pos="627063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81121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>
          <a:xfrm>
            <a:off x="4881772" y="1379560"/>
            <a:ext cx="4129200" cy="5104800"/>
          </a:xfrm>
          <a:prstGeom prst="rect">
            <a:avLst/>
          </a:prstGeom>
        </p:spPr>
        <p:txBody>
          <a:bodyPr>
            <a:noAutofit/>
          </a:bodyPr>
          <a:lstStyle>
            <a:lvl1pPr marL="273050" indent="-177800">
              <a:buSzPct val="100000"/>
              <a:buFont typeface="Arial" pitchFamily="34" charset="0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622300" indent="-185738">
              <a:buSzPct val="100000"/>
              <a:buFont typeface="Arial" pitchFamily="34" charset="0"/>
              <a:buChar char="−"/>
              <a:tabLst>
                <a:tab pos="627063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81121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pic>
        <p:nvPicPr>
          <p:cNvPr id="11" name="SLIDE_PPT_v2_OK.png" descr="/Users/pixelis/Desktop/pour masque PPT/SLIDE_PPT_v2_OK.png"/>
          <p:cNvPicPr>
            <a:picLocks noChangeAspect="1"/>
          </p:cNvPicPr>
          <p:nvPr userDrawn="1"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2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  <p:sp>
        <p:nvSpPr>
          <p:cNvPr id="13" name="ZoneTexte 12"/>
          <p:cNvSpPr txBox="1"/>
          <p:nvPr userDrawn="1"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352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 an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280972" y="709016"/>
            <a:ext cx="873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  <p:pic>
        <p:nvPicPr>
          <p:cNvPr id="6" name="SLIDE_PPT_v2_OK.png" descr="/Users/pixelis/Desktop/pour masque PPT/SLIDE_PPT_v2_OK.png"/>
          <p:cNvPicPr>
            <a:picLocks noChangeAspect="1"/>
          </p:cNvPicPr>
          <p:nvPr userDrawn="1"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7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007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seul an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963372" y="40264"/>
            <a:ext cx="8028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993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296" y="81888"/>
            <a:ext cx="890706" cy="33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sz="1000" dirty="0">
              <a:solidFill>
                <a:srgbClr val="36616C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296" y="81888"/>
            <a:ext cx="890706" cy="33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sz="1000" dirty="0">
              <a:solidFill>
                <a:srgbClr val="3661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949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courante ANA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 userDrawn="1"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280972" y="668072"/>
            <a:ext cx="873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1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280973" y="1220418"/>
            <a:ext cx="8731205" cy="5105954"/>
          </a:xfrm>
          <a:prstGeom prst="rect">
            <a:avLst/>
          </a:prstGeom>
        </p:spPr>
        <p:txBody>
          <a:bodyPr>
            <a:noAutofit/>
          </a:bodyPr>
          <a:lstStyle>
            <a:lvl1pPr marL="366713" indent="-177800">
              <a:buClr>
                <a:schemeClr val="tx2">
                  <a:lumMod val="75000"/>
                </a:schemeClr>
              </a:buClr>
              <a:buSzPct val="100000"/>
              <a:buFont typeface="Wingdings" pitchFamily="2" charset="2"/>
              <a:buChar char="§"/>
              <a:defRPr sz="1600" b="1" i="0">
                <a:solidFill>
                  <a:srgbClr val="02375E"/>
                </a:solidFill>
                <a:latin typeface="Arial"/>
                <a:cs typeface="Arial"/>
              </a:defRPr>
            </a:lvl1pPr>
            <a:lvl2pPr marL="717550" indent="-185738">
              <a:buSzPct val="100000"/>
              <a:buFont typeface="Arial"/>
              <a:buChar char="•"/>
              <a:tabLst>
                <a:tab pos="714375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903288" indent="-174625">
              <a:buSzPct val="100000"/>
              <a:buFont typeface="Wingdings" pitchFamily="2" charset="2"/>
              <a:buChar char="ü"/>
              <a:defRPr sz="1400">
                <a:solidFill>
                  <a:srgbClr val="02375E"/>
                </a:solidFill>
                <a:latin typeface="Arial"/>
                <a:cs typeface="Arial"/>
              </a:defRPr>
            </a:lvl3pPr>
            <a:lvl4pPr marL="1077913" indent="-187325" defTabSz="620713">
              <a:buSzPct val="100000"/>
              <a:buFont typeface="Arial"/>
              <a:buChar char="•"/>
              <a:defRPr sz="1400">
                <a:solidFill>
                  <a:srgbClr val="02375E"/>
                </a:solidFill>
                <a:latin typeface="Arial"/>
                <a:cs typeface="Arial"/>
              </a:defRPr>
            </a:lvl4pPr>
            <a:lvl5pPr marL="1249363" indent="-177800">
              <a:buSzPct val="100000"/>
              <a:buFont typeface="Arial"/>
              <a:buChar char="•"/>
              <a:defRPr sz="1400">
                <a:solidFill>
                  <a:srgbClr val="02375E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4EDA1829-6B1F-AC4A-A852-D4F5C95A9EF4}" type="slidenum">
              <a:rPr lang="fr-FR" sz="1000" smtClean="0">
                <a:solidFill>
                  <a:srgbClr val="36616C"/>
                </a:solidFill>
              </a:rPr>
              <a:pPr>
                <a:defRPr/>
              </a:pPr>
              <a:t>‹N°›</a:t>
            </a:fld>
            <a:endParaRPr lang="fr-FR" dirty="0">
              <a:solidFill>
                <a:srgbClr val="36616C"/>
              </a:solidFill>
            </a:endParaRPr>
          </a:p>
        </p:txBody>
      </p:sp>
      <p:sp>
        <p:nvSpPr>
          <p:cNvPr id="7" name="ZoneTexte 6"/>
          <p:cNvSpPr txBox="1"/>
          <p:nvPr userDrawn="1"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748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D59C7F-0306-4843-AB7C-417CE9859458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9/07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B0A84-CD66-4365-BF89-BB593CEF8DA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387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courante ANAP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DE_PPT_v1_OK.png" descr="/Users/pixelis/Desktop/pour masque PPT/SLIDE_PPT_v1_OK.png"/>
          <p:cNvPicPr>
            <a:picLocks noChangeAspect="1"/>
          </p:cNvPicPr>
          <p:nvPr/>
        </p:nvPicPr>
        <p:blipFill>
          <a:blip r:embed="rId2" r:link="rId3" cstate="print"/>
          <a:stretch>
            <a:fillRect/>
          </a:stretch>
        </p:blipFill>
        <p:spPr>
          <a:xfrm>
            <a:off x="0" y="0"/>
            <a:ext cx="2944125" cy="6857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387224" y="228600"/>
            <a:ext cx="6705600" cy="628632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2209800" y="1447800"/>
            <a:ext cx="6705600" cy="4846674"/>
          </a:xfrm>
          <a:prstGeom prst="rect">
            <a:avLst/>
          </a:prstGeom>
        </p:spPr>
        <p:txBody>
          <a:bodyPr>
            <a:noAutofit/>
          </a:bodyPr>
          <a:lstStyle>
            <a:lvl1pPr marL="177800" indent="-177800">
              <a:buSzPct val="100000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541338" indent="-185738">
              <a:buSzPct val="100000"/>
              <a:buFont typeface="Arial" pitchFamily="34" charset="0"/>
              <a:buChar char="−"/>
              <a:tabLst>
                <a:tab pos="541338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71596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9" name="SLIDE_PPT_v1_OK.png" descr="/Users/pixelis/Desktop/pour masque PPT/SLIDE_PPT_v1_OK.png"/>
          <p:cNvPicPr>
            <a:picLocks noChangeAspect="1"/>
          </p:cNvPicPr>
          <p:nvPr userDrawn="1"/>
        </p:nvPicPr>
        <p:blipFill>
          <a:blip r:embed="rId2" r:link="rId3" cstate="print"/>
          <a:stretch>
            <a:fillRect/>
          </a:stretch>
        </p:blipFill>
        <p:spPr>
          <a:xfrm>
            <a:off x="0" y="0"/>
            <a:ext cx="2944125" cy="6857433"/>
          </a:xfrm>
          <a:prstGeom prst="rect">
            <a:avLst/>
          </a:prstGeom>
        </p:spPr>
      </p:pic>
      <p:sp>
        <p:nvSpPr>
          <p:cNvPr id="10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12826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ide anap ver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DE_PPT_v1_OK.png" descr="/Users/pixelis/Desktop/pour masque PPT/SLIDE_PPT_v1_OK.png"/>
          <p:cNvPicPr>
            <a:picLocks noChangeAspect="1"/>
          </p:cNvPicPr>
          <p:nvPr/>
        </p:nvPicPr>
        <p:blipFill>
          <a:blip r:embed="rId2" r:link="rId3" cstate="print"/>
          <a:stretch>
            <a:fillRect/>
          </a:stretch>
        </p:blipFill>
        <p:spPr>
          <a:xfrm>
            <a:off x="0" y="0"/>
            <a:ext cx="2944125" cy="6857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387224" y="228600"/>
            <a:ext cx="6705600" cy="628632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5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9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" name="SLIDE_PPT_v1_OK.png" descr="/Users/pixelis/Desktop/pour masque PPT/SLIDE_PPT_v1_OK.png"/>
          <p:cNvPicPr>
            <a:picLocks noChangeAspect="1"/>
          </p:cNvPicPr>
          <p:nvPr userDrawn="1"/>
        </p:nvPicPr>
        <p:blipFill>
          <a:blip r:embed="rId2" r:link="rId3" cstate="print"/>
          <a:stretch>
            <a:fillRect/>
          </a:stretch>
        </p:blipFill>
        <p:spPr>
          <a:xfrm>
            <a:off x="0" y="0"/>
            <a:ext cx="2944125" cy="6857433"/>
          </a:xfrm>
          <a:prstGeom prst="rect">
            <a:avLst/>
          </a:prstGeom>
        </p:spPr>
      </p:pic>
      <p:sp>
        <p:nvSpPr>
          <p:cNvPr id="8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9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5959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lide courante ANA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280972" y="709016"/>
            <a:ext cx="873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280972" y="1379560"/>
            <a:ext cx="8730000" cy="5104800"/>
          </a:xfrm>
          <a:prstGeom prst="rect">
            <a:avLst/>
          </a:prstGeom>
        </p:spPr>
        <p:txBody>
          <a:bodyPr>
            <a:noAutofit/>
          </a:bodyPr>
          <a:lstStyle>
            <a:lvl1pPr marL="273050" indent="-177800">
              <a:buSzPct val="100000"/>
              <a:buFont typeface="Arial" pitchFamily="34" charset="0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622300" indent="-185738">
              <a:buSzPct val="100000"/>
              <a:buFont typeface="Arial" pitchFamily="34" charset="0"/>
              <a:buChar char="−"/>
              <a:tabLst>
                <a:tab pos="627063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81121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34189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lide courante ANA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280972" y="709016"/>
            <a:ext cx="873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280972" y="1379560"/>
            <a:ext cx="4129200" cy="5104800"/>
          </a:xfrm>
          <a:prstGeom prst="rect">
            <a:avLst/>
          </a:prstGeom>
        </p:spPr>
        <p:txBody>
          <a:bodyPr>
            <a:noAutofit/>
          </a:bodyPr>
          <a:lstStyle>
            <a:lvl1pPr marL="273050" indent="-177800">
              <a:buSzPct val="100000"/>
              <a:buFont typeface="Arial" pitchFamily="34" charset="0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622300" indent="-185738">
              <a:buSzPct val="100000"/>
              <a:buFont typeface="Arial" pitchFamily="34" charset="0"/>
              <a:buChar char="−"/>
              <a:tabLst>
                <a:tab pos="627063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81121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4"/>
          </p:nvPr>
        </p:nvSpPr>
        <p:spPr>
          <a:xfrm>
            <a:off x="4881772" y="1379560"/>
            <a:ext cx="4129200" cy="5104800"/>
          </a:xfrm>
          <a:prstGeom prst="rect">
            <a:avLst/>
          </a:prstGeom>
        </p:spPr>
        <p:txBody>
          <a:bodyPr>
            <a:noAutofit/>
          </a:bodyPr>
          <a:lstStyle>
            <a:lvl1pPr marL="273050" indent="-177800">
              <a:buSzPct val="100000"/>
              <a:buFont typeface="Arial" pitchFamily="34" charset="0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622300" indent="-185738">
              <a:buSzPct val="100000"/>
              <a:buFont typeface="Arial" pitchFamily="34" charset="0"/>
              <a:buChar char="−"/>
              <a:tabLst>
                <a:tab pos="627063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811213" indent="-174625">
              <a:buSzPct val="100000"/>
              <a:buFont typeface="Wingdings" pitchFamily="2" charset="2"/>
              <a:buChar char="ü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03912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 an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280972" y="709016"/>
            <a:ext cx="873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6" name="SLIDE_PPT_v2_OK.png" descr="/Users/pixelis/Desktop/pour masque PPT/SLIDE_PPT_v2_OK.png"/>
          <p:cNvPicPr>
            <a:picLocks noChangeAspect="1"/>
          </p:cNvPicPr>
          <p:nvPr userDrawn="1"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7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0875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seul an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963372" y="40264"/>
            <a:ext cx="8028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993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296" y="81888"/>
            <a:ext cx="890706" cy="33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Espace réservé du numéro de diapositive 4"/>
          <p:cNvSpPr txBox="1">
            <a:spLocks/>
          </p:cNvSpPr>
          <p:nvPr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296" y="81888"/>
            <a:ext cx="890706" cy="335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0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7098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courante ANAP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LIDE_PPT_v2_OK.png" descr="/Users/pixelis/Desktop/pour masque PPT/SLIDE_PPT_v2_OK.png"/>
          <p:cNvPicPr>
            <a:picLocks noChangeAspect="1"/>
          </p:cNvPicPr>
          <p:nvPr userDrawn="1"/>
        </p:nvPicPr>
        <p:blipFill>
          <a:blip r:embed="rId2" r:link="rId3" cstate="print"/>
          <a:srcRect t="20134" b="15834"/>
          <a:stretch>
            <a:fillRect/>
          </a:stretch>
        </p:blipFill>
        <p:spPr>
          <a:xfrm>
            <a:off x="378" y="85059"/>
            <a:ext cx="9143244" cy="616686"/>
          </a:xfrm>
          <a:prstGeom prst="rect">
            <a:avLst/>
          </a:prstGeom>
        </p:spPr>
      </p:pic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280972" y="668072"/>
            <a:ext cx="8730000" cy="44766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l">
              <a:defRPr sz="2000" b="1" i="0">
                <a:latin typeface="Arial"/>
                <a:cs typeface="Arial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1" name="Espace réservé du contenu 7"/>
          <p:cNvSpPr>
            <a:spLocks noGrp="1"/>
          </p:cNvSpPr>
          <p:nvPr>
            <p:ph sz="quarter" idx="13"/>
          </p:nvPr>
        </p:nvSpPr>
        <p:spPr>
          <a:xfrm>
            <a:off x="280973" y="1220418"/>
            <a:ext cx="8731205" cy="5105954"/>
          </a:xfrm>
          <a:prstGeom prst="rect">
            <a:avLst/>
          </a:prstGeom>
        </p:spPr>
        <p:txBody>
          <a:bodyPr>
            <a:noAutofit/>
          </a:bodyPr>
          <a:lstStyle>
            <a:lvl1pPr marL="366713" indent="-177800">
              <a:buClr>
                <a:schemeClr val="tx2">
                  <a:lumMod val="75000"/>
                </a:schemeClr>
              </a:buClr>
              <a:buSzPct val="100000"/>
              <a:buFont typeface="Wingdings" pitchFamily="2" charset="2"/>
              <a:buChar char="§"/>
              <a:defRPr sz="1600" b="1" i="0">
                <a:solidFill>
                  <a:srgbClr val="02375E"/>
                </a:solidFill>
                <a:latin typeface="Arial"/>
                <a:cs typeface="Arial"/>
              </a:defRPr>
            </a:lvl1pPr>
            <a:lvl2pPr marL="717550" indent="-185738">
              <a:buSzPct val="100000"/>
              <a:buFont typeface="Arial"/>
              <a:buChar char="•"/>
              <a:tabLst>
                <a:tab pos="714375" algn="l"/>
              </a:tabLst>
              <a:defRPr sz="1400">
                <a:solidFill>
                  <a:srgbClr val="02375E"/>
                </a:solidFill>
                <a:latin typeface="Arial"/>
                <a:cs typeface="Arial"/>
              </a:defRPr>
            </a:lvl2pPr>
            <a:lvl3pPr marL="903288" indent="-174625">
              <a:buSzPct val="100000"/>
              <a:buFont typeface="Wingdings" pitchFamily="2" charset="2"/>
              <a:buChar char="ü"/>
              <a:defRPr sz="1400">
                <a:solidFill>
                  <a:srgbClr val="02375E"/>
                </a:solidFill>
                <a:latin typeface="Arial"/>
                <a:cs typeface="Arial"/>
              </a:defRPr>
            </a:lvl3pPr>
            <a:lvl4pPr marL="1077913" indent="-187325" defTabSz="620713">
              <a:buSzPct val="100000"/>
              <a:buFont typeface="Arial"/>
              <a:buChar char="•"/>
              <a:defRPr sz="1400">
                <a:solidFill>
                  <a:srgbClr val="02375E"/>
                </a:solidFill>
                <a:latin typeface="Arial"/>
                <a:cs typeface="Arial"/>
              </a:defRPr>
            </a:lvl4pPr>
            <a:lvl5pPr marL="1249363" indent="-177800">
              <a:buSzPct val="100000"/>
              <a:buFont typeface="Arial"/>
              <a:buChar char="•"/>
              <a:defRPr sz="1400">
                <a:solidFill>
                  <a:srgbClr val="02375E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6" name="Espace réservé du numéro de diapositive 4"/>
          <p:cNvSpPr txBox="1">
            <a:spLocks/>
          </p:cNvSpPr>
          <p:nvPr userDrawn="1"/>
        </p:nvSpPr>
        <p:spPr>
          <a:xfrm>
            <a:off x="8715404" y="6492875"/>
            <a:ext cx="4285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EDA1829-6B1F-AC4A-A852-D4F5C95A9EF4}" type="slidenum">
              <a:rPr kumimoji="0" lang="fr-FR" sz="1000" b="1" i="0" u="none" strike="noStrike" kern="1200" cap="none" spc="0" normalizeH="0" baseline="0" noProof="0" smtClean="0">
                <a:ln>
                  <a:noFill/>
                </a:ln>
                <a:solidFill>
                  <a:srgbClr val="36616C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900" b="1" i="0" u="none" strike="noStrike" kern="1200" cap="none" spc="0" normalizeH="0" baseline="0" noProof="0" dirty="0">
              <a:ln>
                <a:noFill/>
              </a:ln>
              <a:solidFill>
                <a:srgbClr val="36616C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ZoneTexte 1"/>
          <p:cNvSpPr txBox="1"/>
          <p:nvPr userDrawn="1"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814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 AN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UV_PPT_01_OK.png" descr="/Users/pixelis/Desktop/pour masque PPT/COUV_PPT_01_OK.png"/>
          <p:cNvPicPr>
            <a:picLocks noChangeAspect="1"/>
          </p:cNvPicPr>
          <p:nvPr/>
        </p:nvPicPr>
        <p:blipFill>
          <a:blip r:embed="rId2" r:link="rId3" cstate="print"/>
          <a:stretch>
            <a:fillRect/>
          </a:stretch>
        </p:blipFill>
        <p:spPr>
          <a:xfrm>
            <a:off x="756" y="0"/>
            <a:ext cx="9143244" cy="6857433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spcAft>
                <a:spcPts val="3600"/>
              </a:spcAft>
              <a:defRPr sz="3200" b="1" i="0" cap="all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85800" y="3778160"/>
            <a:ext cx="7772400" cy="457200"/>
          </a:xfrm>
          <a:prstGeom prst="rect">
            <a:avLst/>
          </a:prstGeom>
        </p:spPr>
        <p:txBody>
          <a:bodyPr wrap="none">
            <a:normAutofit/>
          </a:bodyPr>
          <a:lstStyle>
            <a:lvl1pPr marL="0" indent="0" algn="l"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 smtClean="0"/>
          </a:p>
        </p:txBody>
      </p:sp>
      <p:sp>
        <p:nvSpPr>
          <p:cNvPr id="9" name="ZoneTexte 8"/>
          <p:cNvSpPr txBox="1"/>
          <p:nvPr/>
        </p:nvSpPr>
        <p:spPr>
          <a:xfrm>
            <a:off x="184195" y="6176616"/>
            <a:ext cx="2514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  <a:t>Agence Nationale d’Appui à la Performance </a:t>
            </a:r>
            <a:b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  <a:t>des établissements de santé et médico-sociaux</a:t>
            </a:r>
          </a:p>
          <a:p>
            <a:endParaRPr lang="fr-FR" sz="8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0" name="marianne-cartouche.wmf" descr="/Users/pixelis/Desktop/pour masque PPT/marianne-cartouche.wmf"/>
          <p:cNvPicPr>
            <a:picLocks noChangeAspect="1"/>
          </p:cNvPicPr>
          <p:nvPr/>
        </p:nvPicPr>
        <p:blipFill>
          <a:blip r:embed="rId4" r:link="rId5" cstate="print"/>
          <a:stretch>
            <a:fillRect/>
          </a:stretch>
        </p:blipFill>
        <p:spPr>
          <a:xfrm>
            <a:off x="8166956" y="6085412"/>
            <a:ext cx="582488" cy="391588"/>
          </a:xfrm>
          <a:prstGeom prst="rect">
            <a:avLst/>
          </a:prstGeom>
        </p:spPr>
      </p:pic>
      <p:pic>
        <p:nvPicPr>
          <p:cNvPr id="8" name="COUV_PPT_01_OK.png" descr="/Users/pixelis/Desktop/pour masque PPT/COUV_PPT_01_OK.png"/>
          <p:cNvPicPr>
            <a:picLocks noChangeAspect="1"/>
          </p:cNvPicPr>
          <p:nvPr userDrawn="1"/>
        </p:nvPicPr>
        <p:blipFill>
          <a:blip r:embed="rId2" r:link="rId3" cstate="print"/>
          <a:stretch>
            <a:fillRect/>
          </a:stretch>
        </p:blipFill>
        <p:spPr>
          <a:xfrm>
            <a:off x="756" y="0"/>
            <a:ext cx="9143244" cy="6857433"/>
          </a:xfrm>
          <a:prstGeom prst="rect">
            <a:avLst/>
          </a:prstGeom>
        </p:spPr>
      </p:pic>
      <p:sp>
        <p:nvSpPr>
          <p:cNvPr id="11" name="ZoneTexte 10"/>
          <p:cNvSpPr txBox="1"/>
          <p:nvPr userDrawn="1"/>
        </p:nvSpPr>
        <p:spPr>
          <a:xfrm>
            <a:off x="184195" y="6176616"/>
            <a:ext cx="2514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  <a:t>Agence Nationale d’Appui à la Performance </a:t>
            </a:r>
            <a:b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fr-FR" sz="800" dirty="0" smtClean="0">
                <a:solidFill>
                  <a:srgbClr val="FFFFFF"/>
                </a:solidFill>
                <a:latin typeface="Arial"/>
                <a:cs typeface="Arial"/>
              </a:rPr>
              <a:t>des établissements de santé et médico-sociaux</a:t>
            </a:r>
          </a:p>
          <a:p>
            <a:endParaRPr lang="fr-FR" sz="8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12" name="marianne-cartouche.wmf" descr="/Users/pixelis/Desktop/pour masque PPT/marianne-cartouche.wmf"/>
          <p:cNvPicPr>
            <a:picLocks noChangeAspect="1"/>
          </p:cNvPicPr>
          <p:nvPr userDrawn="1"/>
        </p:nvPicPr>
        <p:blipFill>
          <a:blip r:embed="rId4" r:link="rId5" cstate="print"/>
          <a:stretch>
            <a:fillRect/>
          </a:stretch>
        </p:blipFill>
        <p:spPr>
          <a:xfrm>
            <a:off x="8166956" y="6085412"/>
            <a:ext cx="582488" cy="39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4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716044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Diapositive think-cell" r:id="rId12" imgW="270" imgH="270" progId="TCLayout.ActiveDocument.1">
                  <p:embed/>
                </p:oleObj>
              </mc:Choice>
              <mc:Fallback>
                <p:oleObj name="Diapositive think-cell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48F4D6-224F-0B4B-8ECE-603744A7B354}" type="datetimeFigureOut">
              <a:rPr lang="fr-FR" smtClean="0"/>
              <a:pPr/>
              <a:t>29/07/201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241F5-8998-1C40-AECE-9E6A33B2EF7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4528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48F4D6-224F-0B4B-8ECE-603744A7B354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9/07/2016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E241F5-8998-1C40-AECE-9E6A33B2EF7A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825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METTRE EN ŒUVRE UN </a:t>
            </a:r>
            <a:r>
              <a:rPr lang="fr-FR" dirty="0" err="1" smtClean="0"/>
              <a:t>PROJet</a:t>
            </a:r>
            <a:r>
              <a:rPr lang="fr-FR" dirty="0" smtClean="0"/>
              <a:t> </a:t>
            </a:r>
            <a:r>
              <a:rPr lang="fr-FR" dirty="0" smtClean="0"/>
              <a:t>DE PARCOURS n psychiatrie et sante mentale</a:t>
            </a:r>
            <a:endParaRPr lang="fr-FR" sz="2200" b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685800" y="3778159"/>
            <a:ext cx="7772400" cy="698837"/>
          </a:xfrm>
        </p:spPr>
        <p:txBody>
          <a:bodyPr>
            <a:noAutofit/>
          </a:bodyPr>
          <a:lstStyle/>
          <a:p>
            <a:r>
              <a:rPr lang="fr-FR" sz="1600" b="1" dirty="0"/>
              <a:t>Comité de pilotage </a:t>
            </a:r>
            <a:r>
              <a:rPr lang="fr-FR" sz="1600" b="1" dirty="0" smtClean="0"/>
              <a:t>n°3 </a:t>
            </a:r>
            <a:r>
              <a:rPr lang="fr-FR" sz="1600" b="1" dirty="0"/>
              <a:t>: </a:t>
            </a:r>
            <a:r>
              <a:rPr lang="fr-FR" sz="1600" b="1"/>
              <a:t>Validation </a:t>
            </a:r>
            <a:r>
              <a:rPr lang="fr-FR" sz="1600" b="1" smtClean="0"/>
              <a:t>de </a:t>
            </a:r>
            <a:r>
              <a:rPr lang="fr-FR" sz="1600" b="1" dirty="0" smtClean="0"/>
              <a:t>la feuille </a:t>
            </a:r>
            <a:r>
              <a:rPr lang="fr-FR" sz="1600" b="1" smtClean="0"/>
              <a:t>de route</a:t>
            </a:r>
            <a:endParaRPr lang="fr-FR" sz="1600" b="1" dirty="0"/>
          </a:p>
          <a:p>
            <a:endParaRPr lang="fr-FR" sz="1600" b="1" dirty="0"/>
          </a:p>
          <a:p>
            <a:r>
              <a:rPr lang="fr-FR" sz="1600" i="1" dirty="0"/>
              <a:t>Date : </a:t>
            </a:r>
          </a:p>
          <a:p>
            <a:r>
              <a:rPr lang="fr-FR" sz="1600" i="1" dirty="0"/>
              <a:t>Lieu :</a:t>
            </a:r>
            <a:endParaRPr lang="fr-FR" sz="1600" i="1" dirty="0">
              <a:solidFill>
                <a:srgbClr val="FF0000"/>
              </a:solidFill>
            </a:endParaRPr>
          </a:p>
          <a:p>
            <a:endParaRPr lang="fr-FR" sz="1600" dirty="0"/>
          </a:p>
        </p:txBody>
      </p:sp>
      <p:sp>
        <p:nvSpPr>
          <p:cNvPr id="4" name="ZoneTexte 3"/>
          <p:cNvSpPr txBox="1"/>
          <p:nvPr/>
        </p:nvSpPr>
        <p:spPr>
          <a:xfrm>
            <a:off x="6593983" y="643944"/>
            <a:ext cx="21121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smtClean="0">
                <a:solidFill>
                  <a:schemeClr val="bg1"/>
                </a:solidFill>
              </a:rPr>
              <a:t>LOGO ARS</a:t>
            </a:r>
            <a:endParaRPr lang="fr-FR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834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rdre du jour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3059868" y="1909481"/>
            <a:ext cx="5688105" cy="48261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7800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541338" indent="-185738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tabLst>
                <a:tab pos="541338" algn="l"/>
              </a:tabLst>
              <a:defRPr sz="1400" kern="120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2pPr>
            <a:lvl3pPr marL="715963" indent="-174625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marche et calendrier</a:t>
            </a: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Méthode de tr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roulement des travaux</a:t>
            </a: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s grandes orientations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 plan d’action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Tableau de synthèse des coûts et budgets mobilisés</a:t>
            </a: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Calendrier et modalités de suiv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Engagement </a:t>
            </a: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555305" y="1926368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Feuille de route :</a:t>
            </a:r>
            <a:endParaRPr lang="fr-FR" sz="1800" dirty="0">
              <a:solidFill>
                <a:schemeClr val="accent1"/>
              </a:solidFill>
            </a:endParaRP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e processus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29547" y="3238437"/>
            <a:ext cx="2474259" cy="866639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>
                <a:solidFill>
                  <a:schemeClr val="accent1"/>
                </a:solidFill>
              </a:rPr>
              <a:t>Feuille de route :</a:t>
            </a: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es résultats</a:t>
            </a:r>
          </a:p>
        </p:txBody>
      </p:sp>
      <p:sp>
        <p:nvSpPr>
          <p:cNvPr id="23" name="Rectangle à coins arrondis 22"/>
          <p:cNvSpPr/>
          <p:nvPr/>
        </p:nvSpPr>
        <p:spPr>
          <a:xfrm>
            <a:off x="542428" y="1298081"/>
            <a:ext cx="3765177" cy="33727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>
                <a:solidFill>
                  <a:schemeClr val="accent1"/>
                </a:solidFill>
              </a:rPr>
              <a:t>Accueil et tour de tabl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7547019" y="334850"/>
            <a:ext cx="1493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OGO ARS</a:t>
            </a:r>
            <a:endParaRPr lang="fr-FR" dirty="0"/>
          </a:p>
        </p:txBody>
      </p:sp>
      <p:sp>
        <p:nvSpPr>
          <p:cNvPr id="9" name="Rectangle à coins arrondis 8"/>
          <p:cNvSpPr/>
          <p:nvPr/>
        </p:nvSpPr>
        <p:spPr>
          <a:xfrm>
            <a:off x="566036" y="4472663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La mise en œuvre de la Feuille de route</a:t>
            </a:r>
            <a:endParaRPr lang="fr-FR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022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résultats du diagnostic…</a:t>
            </a:r>
            <a:endParaRPr lang="fr-FR" dirty="0"/>
          </a:p>
        </p:txBody>
      </p:sp>
      <p:graphicFrame>
        <p:nvGraphicFramePr>
          <p:cNvPr id="5" name="Diagramme 4"/>
          <p:cNvGraphicFramePr/>
          <p:nvPr>
            <p:extLst/>
          </p:nvPr>
        </p:nvGraphicFramePr>
        <p:xfrm>
          <a:off x="1577788" y="1733176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55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s objectifs de la feuille de route… à titre indicatif</a:t>
            </a:r>
            <a:endParaRPr lang="fr-FR" dirty="0"/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2733575722"/>
              </p:ext>
            </p:extLst>
          </p:nvPr>
        </p:nvGraphicFramePr>
        <p:xfrm>
          <a:off x="551329" y="1479176"/>
          <a:ext cx="7987553" cy="48678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62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Plan d’actions 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Espace réservé du contenu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64719621"/>
              </p:ext>
            </p:extLst>
          </p:nvPr>
        </p:nvGraphicFramePr>
        <p:xfrm>
          <a:off x="14536" y="1124744"/>
          <a:ext cx="9093968" cy="5430935"/>
        </p:xfrm>
        <a:graphic>
          <a:graphicData uri="http://schemas.openxmlformats.org/drawingml/2006/table">
            <a:tbl>
              <a:tblPr firstRow="1" lastRow="1" bandRow="1" bandCol="1">
                <a:tableStyleId>{16D9F66E-5EB9-4882-86FB-DCBF35E3C3E4}</a:tableStyleId>
              </a:tblPr>
              <a:tblGrid>
                <a:gridCol w="1410946"/>
                <a:gridCol w="1410946"/>
                <a:gridCol w="1410946"/>
                <a:gridCol w="1968202"/>
                <a:gridCol w="1446464"/>
                <a:gridCol w="1446464"/>
              </a:tblGrid>
              <a:tr h="609745">
                <a:tc>
                  <a:txBody>
                    <a:bodyPr/>
                    <a:lstStyle/>
                    <a:p>
                      <a:r>
                        <a:rPr lang="fr-FR" dirty="0" smtClean="0"/>
                        <a:t>Grandes thématiques</a:t>
                      </a:r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Objectifs</a:t>
                      </a:r>
                    </a:p>
                    <a:p>
                      <a:pPr algn="ctr"/>
                      <a:r>
                        <a:rPr lang="fr-FR" sz="1100" dirty="0" smtClean="0"/>
                        <a:t>stratégiques</a:t>
                      </a:r>
                      <a:endParaRPr lang="fr-FR" sz="1100" b="1" dirty="0">
                        <a:solidFill>
                          <a:srgbClr val="02375E"/>
                        </a:solidFill>
                      </a:endParaRPr>
                    </a:p>
                  </a:txBody>
                  <a:tcPr marL="119041" marR="11904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Objectifs</a:t>
                      </a:r>
                      <a:r>
                        <a:rPr lang="fr-FR" sz="1100" baseline="0" dirty="0" smtClean="0"/>
                        <a:t> opérationnels</a:t>
                      </a:r>
                      <a:endParaRPr lang="fr-FR" sz="1100" b="1" dirty="0">
                        <a:solidFill>
                          <a:srgbClr val="02375E"/>
                        </a:solidFill>
                      </a:endParaRPr>
                    </a:p>
                  </a:txBody>
                  <a:tcPr marL="119041" marR="11904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Propositions</a:t>
                      </a:r>
                      <a:r>
                        <a:rPr lang="fr-FR" sz="1100" baseline="0" dirty="0" smtClean="0"/>
                        <a:t> des actions</a:t>
                      </a:r>
                      <a:endParaRPr lang="fr-FR" sz="1100" b="1" dirty="0">
                        <a:solidFill>
                          <a:srgbClr val="02375E"/>
                        </a:solidFill>
                      </a:endParaRPr>
                    </a:p>
                  </a:txBody>
                  <a:tcPr marL="119041" marR="11904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/>
                        <a:t>Pilotes</a:t>
                      </a:r>
                      <a:endParaRPr lang="fr-FR" sz="700" b="1" dirty="0">
                        <a:solidFill>
                          <a:srgbClr val="02375E"/>
                        </a:solidFill>
                      </a:endParaRPr>
                    </a:p>
                  </a:txBody>
                  <a:tcPr marL="119041" marR="119041" marT="45710" marB="4571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700" dirty="0" smtClean="0"/>
                        <a:t>Priorités</a:t>
                      </a:r>
                      <a:endParaRPr lang="fr-FR" sz="700" b="1" dirty="0">
                        <a:solidFill>
                          <a:srgbClr val="02375E"/>
                        </a:solidFill>
                      </a:endParaRPr>
                    </a:p>
                  </a:txBody>
                  <a:tcPr marL="119041" marR="119041" marT="45710" marB="45710" anchor="ctr"/>
                </a:tc>
              </a:tr>
              <a:tr h="47908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1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100" b="1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200" b="1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836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44242" y="67236"/>
            <a:ext cx="6726389" cy="363070"/>
          </a:xfrm>
        </p:spPr>
        <p:txBody>
          <a:bodyPr>
            <a:normAutofit/>
          </a:bodyPr>
          <a:lstStyle/>
          <a:p>
            <a:r>
              <a:rPr lang="fr-FR" sz="1600" dirty="0" smtClean="0">
                <a:solidFill>
                  <a:schemeClr val="bg1"/>
                </a:solidFill>
              </a:rPr>
              <a:t>Intitulé de l’ac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133055" y="94130"/>
            <a:ext cx="5148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 smtClean="0">
                <a:solidFill>
                  <a:schemeClr val="bg1"/>
                </a:solidFill>
              </a:rPr>
              <a:t>X.X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6790144" y="514968"/>
            <a:ext cx="2166419" cy="208717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440" tIns="33640" rIns="85440" bIns="33640" anchor="t"/>
          <a:lstStyle/>
          <a:p>
            <a:pPr marL="174625" indent="-171450">
              <a:defRPr/>
            </a:pPr>
            <a:r>
              <a:rPr lang="fr-FR" sz="1200" i="1" u="sng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ilote(s) : </a:t>
            </a:r>
            <a:endParaRPr lang="fr-FR" sz="1200" i="1" u="sng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marL="174625" indent="-171450">
              <a:buFont typeface="Wingdings" pitchFamily="2" charset="2"/>
              <a:buChar char="ü"/>
              <a:defRPr/>
            </a:pPr>
            <a:r>
              <a:rPr lang="fr-FR" sz="1200" b="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XX</a:t>
            </a:r>
          </a:p>
          <a:p>
            <a:pPr marL="174625" indent="-171450">
              <a:buFont typeface="Wingdings" pitchFamily="2" charset="2"/>
              <a:buChar char="ü"/>
              <a:defRPr/>
            </a:pPr>
            <a:endParaRPr lang="fr-FR" sz="12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marL="174625" indent="-171450">
              <a:defRPr/>
            </a:pPr>
            <a:r>
              <a:rPr lang="fr-FR" sz="1200" i="1" u="sng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tributeurs </a:t>
            </a:r>
            <a:r>
              <a:rPr lang="fr-FR" sz="1200" i="1" u="sng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</a:p>
          <a:p>
            <a:pPr marL="174625" indent="-171450">
              <a:buFont typeface="Wingdings" pitchFamily="2" charset="2"/>
              <a:buChar char="ü"/>
              <a:defRPr/>
            </a:pPr>
            <a:r>
              <a:rPr lang="fr-FR" sz="12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XX</a:t>
            </a:r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auto">
          <a:xfrm>
            <a:off x="189326" y="1548061"/>
            <a:ext cx="6535031" cy="1054078"/>
          </a:xfrm>
          <a:prstGeom prst="roundRect">
            <a:avLst>
              <a:gd name="adj" fmla="val 3799"/>
            </a:avLst>
          </a:prstGeom>
          <a:noFill/>
          <a:ln w="28575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84098" tIns="84098" rIns="84098" bIns="84098" anchor="t"/>
          <a:lstStyle/>
          <a:p>
            <a:pPr marL="285750" indent="-285750" algn="just" eaLnBrk="0" hangingPunct="0">
              <a:lnSpc>
                <a:spcPct val="85000"/>
              </a:lnSpc>
              <a:buClr>
                <a:schemeClr val="accent6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300" b="0" dirty="0" smtClean="0">
              <a:solidFill>
                <a:srgbClr val="262626"/>
              </a:solidFill>
              <a:latin typeface="Calibri" pitchFamily="34" charset="0"/>
            </a:endParaRP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200" i="1" u="sng" dirty="0" smtClean="0">
                <a:latin typeface="Calibri" pitchFamily="34" charset="0"/>
                <a:cs typeface="Calibri" pitchFamily="34" charset="0"/>
              </a:rPr>
              <a:t>Objectif stratégique</a:t>
            </a:r>
            <a:r>
              <a:rPr lang="fr-FR" sz="1200" i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fr-FR" sz="1200" i="1" dirty="0">
                <a:latin typeface="Calibri" pitchFamily="34" charset="0"/>
                <a:cs typeface="Calibri" pitchFamily="34" charset="0"/>
              </a:rPr>
              <a:t>: </a:t>
            </a:r>
            <a:r>
              <a:rPr lang="fr-FR" sz="1200" b="0" i="1" dirty="0" smtClean="0">
                <a:latin typeface="Calibri" pitchFamily="34" charset="0"/>
                <a:cs typeface="Calibri" pitchFamily="34" charset="0"/>
              </a:rPr>
              <a:t>XXX</a:t>
            </a: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200" b="0" i="1" dirty="0" smtClean="0">
              <a:latin typeface="Calibri" pitchFamily="34" charset="0"/>
              <a:cs typeface="Calibri" pitchFamily="34" charset="0"/>
            </a:endParaRP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200" i="1" u="sng" dirty="0" smtClean="0">
                <a:latin typeface="Calibri" pitchFamily="34" charset="0"/>
                <a:cs typeface="Calibri" pitchFamily="34" charset="0"/>
              </a:rPr>
              <a:t>Objectifs opérationnels</a:t>
            </a:r>
            <a:r>
              <a:rPr lang="fr-FR" sz="1200" i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fr-FR" sz="1200" i="1" dirty="0">
                <a:latin typeface="Calibri" pitchFamily="34" charset="0"/>
                <a:cs typeface="Calibri" pitchFamily="34" charset="0"/>
              </a:rPr>
              <a:t>: </a:t>
            </a:r>
            <a:endParaRPr lang="fr-FR" sz="1200" b="0" dirty="0">
              <a:solidFill>
                <a:srgbClr val="262626"/>
              </a:solidFill>
              <a:latin typeface="Calibri" pitchFamily="34" charset="0"/>
            </a:endParaRPr>
          </a:p>
          <a:p>
            <a:pPr marL="742950" lvl="1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fr-FR" sz="1200" b="0" dirty="0" smtClean="0">
                <a:solidFill>
                  <a:srgbClr val="262626"/>
                </a:solidFill>
                <a:latin typeface="Calibri" pitchFamily="34" charset="0"/>
              </a:rPr>
              <a:t>XX</a:t>
            </a:r>
          </a:p>
          <a:p>
            <a:pPr marL="742950" lvl="1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fr-FR" sz="1200" b="0" dirty="0" smtClean="0">
                <a:solidFill>
                  <a:srgbClr val="262626"/>
                </a:solidFill>
                <a:latin typeface="Calibri" pitchFamily="34" charset="0"/>
              </a:rPr>
              <a:t>XX</a:t>
            </a:r>
          </a:p>
          <a:p>
            <a:pPr marL="742950" lvl="1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fr-FR" sz="1200" b="0" dirty="0" smtClean="0">
                <a:solidFill>
                  <a:srgbClr val="262626"/>
                </a:solidFill>
                <a:latin typeface="Calibri" pitchFamily="34" charset="0"/>
              </a:rPr>
              <a:t>XX</a:t>
            </a:r>
            <a:endParaRPr lang="fr-FR" sz="1200" b="0" dirty="0">
              <a:solidFill>
                <a:srgbClr val="262626"/>
              </a:solidFill>
              <a:latin typeface="Calibri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02543" y="1338433"/>
            <a:ext cx="4104184" cy="274010"/>
          </a:xfrm>
          <a:prstGeom prst="roundRect">
            <a:avLst>
              <a:gd name="adj" fmla="val 44969"/>
            </a:avLst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Objectifs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89327" y="721860"/>
            <a:ext cx="6535031" cy="516512"/>
          </a:xfrm>
          <a:prstGeom prst="roundRect">
            <a:avLst>
              <a:gd name="adj" fmla="val 16667"/>
            </a:avLst>
          </a:prstGeom>
          <a:noFill/>
          <a:ln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440" tIns="33640" rIns="85440" bIns="33640" anchor="t"/>
          <a:lstStyle/>
          <a:p>
            <a:pPr>
              <a:defRPr/>
            </a:pPr>
            <a:r>
              <a:rPr lang="fr-FR" sz="1200" i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Constats</a:t>
            </a:r>
            <a:r>
              <a:rPr lang="fr-FR" sz="1200" i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: </a:t>
            </a:r>
            <a:r>
              <a:rPr lang="fr-FR" sz="1200" b="0" i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XXX</a:t>
            </a:r>
          </a:p>
          <a:p>
            <a:pPr>
              <a:defRPr/>
            </a:pPr>
            <a:r>
              <a:rPr lang="fr-FR" sz="1200" b="0" i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</a:p>
        </p:txBody>
      </p:sp>
      <p:graphicFrame>
        <p:nvGraphicFramePr>
          <p:cNvPr id="10" name="Tableau 9"/>
          <p:cNvGraphicFramePr>
            <a:graphicFrameLocks noGrp="1"/>
          </p:cNvGraphicFramePr>
          <p:nvPr>
            <p:extLst/>
          </p:nvPr>
        </p:nvGraphicFramePr>
        <p:xfrm>
          <a:off x="202549" y="2727602"/>
          <a:ext cx="8784000" cy="23142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5760000"/>
                <a:gridCol w="252000"/>
                <a:gridCol w="252000"/>
                <a:gridCol w="252000"/>
                <a:gridCol w="252000"/>
                <a:gridCol w="252000"/>
                <a:gridCol w="252000"/>
                <a:gridCol w="252000"/>
                <a:gridCol w="252000"/>
                <a:gridCol w="252000"/>
                <a:gridCol w="252000"/>
                <a:gridCol w="252000"/>
                <a:gridCol w="252000"/>
              </a:tblGrid>
              <a:tr h="393969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Etapes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200" dirty="0" smtClean="0"/>
                        <a:t>Trim.1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fr-FR" sz="1200" dirty="0" smtClean="0"/>
                        <a:t>Trim.2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fr-FR" sz="1200" dirty="0" smtClean="0"/>
                        <a:t>Trim.3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fr-FR" sz="1200" dirty="0" smtClean="0"/>
                        <a:t>Trim.4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fr-FR" sz="1200" dirty="0" smtClean="0"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2"/>
                      </a:pPr>
                      <a:r>
                        <a:rPr lang="fr-FR" sz="1200" dirty="0" smtClean="0"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3"/>
                      </a:pPr>
                      <a:r>
                        <a:rPr lang="fr-FR" sz="1200" dirty="0" smtClean="0"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4"/>
                      </a:pP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5"/>
                      </a:pP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6"/>
                      </a:pP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7"/>
                      </a:pP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Rectangle 15"/>
          <p:cNvSpPr>
            <a:spLocks noChangeArrowheads="1"/>
          </p:cNvSpPr>
          <p:nvPr/>
        </p:nvSpPr>
        <p:spPr bwMode="auto">
          <a:xfrm>
            <a:off x="255114" y="5627000"/>
            <a:ext cx="4051614" cy="1054078"/>
          </a:xfrm>
          <a:prstGeom prst="roundRect">
            <a:avLst>
              <a:gd name="adj" fmla="val 3799"/>
            </a:avLst>
          </a:prstGeom>
          <a:noFill/>
          <a:ln w="28575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84098" tIns="84098" rIns="84098" bIns="84098" anchor="t"/>
          <a:lstStyle/>
          <a:p>
            <a:pPr marL="285750" indent="-285750" algn="just" eaLnBrk="0" hangingPunct="0">
              <a:lnSpc>
                <a:spcPct val="85000"/>
              </a:lnSpc>
              <a:buClr>
                <a:schemeClr val="accent6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300" b="0" dirty="0" smtClean="0">
              <a:solidFill>
                <a:srgbClr val="262626"/>
              </a:solidFill>
              <a:latin typeface="Calibri" pitchFamily="34" charset="0"/>
            </a:endParaRP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200" b="0" dirty="0" smtClean="0">
                <a:latin typeface="Calibri" pitchFamily="34" charset="0"/>
                <a:cs typeface="Calibri" pitchFamily="34" charset="0"/>
              </a:rPr>
              <a:t>XX</a:t>
            </a:r>
            <a:endParaRPr lang="fr-FR" sz="1200" b="0" dirty="0">
              <a:solidFill>
                <a:srgbClr val="262626"/>
              </a:solidFill>
              <a:latin typeface="Calibri" pitchFamily="34" charset="0"/>
            </a:endParaRP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268330" y="5417372"/>
            <a:ext cx="2544528" cy="274010"/>
          </a:xfrm>
          <a:prstGeom prst="roundRect">
            <a:avLst>
              <a:gd name="adj" fmla="val 44969"/>
            </a:avLst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Moyens nécessaires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graphicFrame>
        <p:nvGraphicFramePr>
          <p:cNvPr id="16" name="Tableau 15"/>
          <p:cNvGraphicFramePr>
            <a:graphicFrameLocks noGrp="1"/>
          </p:cNvGraphicFramePr>
          <p:nvPr>
            <p:extLst/>
          </p:nvPr>
        </p:nvGraphicFramePr>
        <p:xfrm>
          <a:off x="4372512" y="5309478"/>
          <a:ext cx="4584051" cy="13716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498934"/>
                <a:gridCol w="1008529"/>
                <a:gridCol w="1076588"/>
              </a:tblGrid>
              <a:tr h="123291"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V. initiale</a:t>
                      </a:r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V. cible</a:t>
                      </a:r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123291"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123291"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123291"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123291"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4280037" y="5282902"/>
            <a:ext cx="2544528" cy="274010"/>
          </a:xfrm>
          <a:prstGeom prst="roundRect">
            <a:avLst>
              <a:gd name="adj" fmla="val 44969"/>
            </a:avLst>
          </a:prstGeom>
          <a:solidFill>
            <a:schemeClr val="accent5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Indicateurs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202543" y="2774823"/>
            <a:ext cx="2544528" cy="274010"/>
          </a:xfrm>
          <a:prstGeom prst="roundRect">
            <a:avLst>
              <a:gd name="adj" fmla="val 44969"/>
            </a:avLst>
          </a:prstGeom>
          <a:solidFill>
            <a:schemeClr val="accent2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Etapes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045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244242" y="67236"/>
            <a:ext cx="6726389" cy="363070"/>
          </a:xfrm>
        </p:spPr>
        <p:txBody>
          <a:bodyPr>
            <a:normAutofit/>
          </a:bodyPr>
          <a:lstStyle/>
          <a:p>
            <a:r>
              <a:rPr lang="fr-FR" sz="1600" dirty="0" smtClean="0">
                <a:solidFill>
                  <a:schemeClr val="bg1"/>
                </a:solidFill>
              </a:rPr>
              <a:t>Intitulé de l’action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133055" y="94130"/>
            <a:ext cx="5148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 smtClean="0">
                <a:solidFill>
                  <a:schemeClr val="bg1"/>
                </a:solidFill>
              </a:rPr>
              <a:t>X.X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6790144" y="514968"/>
            <a:ext cx="2166419" cy="2087171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>
            <a:noFill/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440" tIns="33640" rIns="85440" bIns="33640" anchor="t"/>
          <a:lstStyle/>
          <a:p>
            <a:pPr marL="174625" indent="-171450">
              <a:defRPr/>
            </a:pPr>
            <a:r>
              <a:rPr lang="fr-FR" sz="1200" i="1" u="sng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ilote(s) : </a:t>
            </a:r>
            <a:endParaRPr lang="fr-FR" sz="1200" i="1" u="sng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marL="174625" indent="-171450">
              <a:buFont typeface="Wingdings" pitchFamily="2" charset="2"/>
              <a:buChar char="ü"/>
              <a:defRPr/>
            </a:pPr>
            <a:r>
              <a:rPr lang="fr-FR" sz="1200" b="0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XX</a:t>
            </a:r>
          </a:p>
          <a:p>
            <a:pPr marL="174625" indent="-171450">
              <a:buFont typeface="Wingdings" pitchFamily="2" charset="2"/>
              <a:buChar char="ü"/>
              <a:defRPr/>
            </a:pPr>
            <a:endParaRPr lang="fr-FR" sz="1200" b="0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marL="174625" indent="-171450">
              <a:defRPr/>
            </a:pPr>
            <a:r>
              <a:rPr lang="fr-FR" sz="1200" i="1" u="sng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tributeurs </a:t>
            </a:r>
            <a:r>
              <a:rPr lang="fr-FR" sz="1200" i="1" u="sng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: </a:t>
            </a:r>
          </a:p>
          <a:p>
            <a:pPr marL="174625" indent="-171450">
              <a:buFont typeface="Wingdings" pitchFamily="2" charset="2"/>
              <a:buChar char="ü"/>
              <a:defRPr/>
            </a:pPr>
            <a:r>
              <a:rPr lang="fr-FR" sz="1200" b="0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XX</a:t>
            </a:r>
          </a:p>
        </p:txBody>
      </p:sp>
      <p:sp>
        <p:nvSpPr>
          <p:cNvPr id="7" name="Rectangle 15"/>
          <p:cNvSpPr>
            <a:spLocks noChangeArrowheads="1"/>
          </p:cNvSpPr>
          <p:nvPr/>
        </p:nvSpPr>
        <p:spPr bwMode="auto">
          <a:xfrm>
            <a:off x="189326" y="1548061"/>
            <a:ext cx="6535031" cy="1054078"/>
          </a:xfrm>
          <a:prstGeom prst="roundRect">
            <a:avLst>
              <a:gd name="adj" fmla="val 3799"/>
            </a:avLst>
          </a:prstGeom>
          <a:noFill/>
          <a:ln w="28575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84098" tIns="84098" rIns="84098" bIns="84098" anchor="t"/>
          <a:lstStyle/>
          <a:p>
            <a:pPr marL="285750" indent="-285750" algn="just" eaLnBrk="0" hangingPunct="0">
              <a:lnSpc>
                <a:spcPct val="85000"/>
              </a:lnSpc>
              <a:buClr>
                <a:schemeClr val="accent6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300" b="0" dirty="0" smtClean="0">
              <a:solidFill>
                <a:srgbClr val="262626"/>
              </a:solidFill>
              <a:latin typeface="Calibri" pitchFamily="34" charset="0"/>
            </a:endParaRP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200" i="1" u="sng" dirty="0" smtClean="0">
                <a:latin typeface="Calibri" pitchFamily="34" charset="0"/>
                <a:cs typeface="Calibri" pitchFamily="34" charset="0"/>
              </a:rPr>
              <a:t>Objectif stratégique</a:t>
            </a:r>
            <a:r>
              <a:rPr lang="fr-FR" sz="1200" i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fr-FR" sz="1200" i="1" dirty="0">
                <a:latin typeface="Calibri" pitchFamily="34" charset="0"/>
                <a:cs typeface="Calibri" pitchFamily="34" charset="0"/>
              </a:rPr>
              <a:t>: </a:t>
            </a:r>
            <a:r>
              <a:rPr lang="fr-FR" sz="1200" b="0" i="1" dirty="0" smtClean="0">
                <a:latin typeface="Calibri" pitchFamily="34" charset="0"/>
                <a:cs typeface="Calibri" pitchFamily="34" charset="0"/>
              </a:rPr>
              <a:t>XXX</a:t>
            </a: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200" b="0" i="1" dirty="0" smtClean="0">
              <a:latin typeface="Calibri" pitchFamily="34" charset="0"/>
              <a:cs typeface="Calibri" pitchFamily="34" charset="0"/>
            </a:endParaRP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200" i="1" u="sng" dirty="0" smtClean="0">
                <a:latin typeface="Calibri" pitchFamily="34" charset="0"/>
                <a:cs typeface="Calibri" pitchFamily="34" charset="0"/>
              </a:rPr>
              <a:t>Objectifs opérationnels</a:t>
            </a:r>
            <a:r>
              <a:rPr lang="fr-FR" sz="1200" i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fr-FR" sz="1200" i="1" dirty="0">
                <a:latin typeface="Calibri" pitchFamily="34" charset="0"/>
                <a:cs typeface="Calibri" pitchFamily="34" charset="0"/>
              </a:rPr>
              <a:t>: </a:t>
            </a:r>
            <a:endParaRPr lang="fr-FR" sz="1200" b="0" dirty="0">
              <a:solidFill>
                <a:srgbClr val="262626"/>
              </a:solidFill>
              <a:latin typeface="Calibri" pitchFamily="34" charset="0"/>
            </a:endParaRPr>
          </a:p>
          <a:p>
            <a:pPr marL="742950" lvl="1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fr-FR" sz="1200" b="0" dirty="0" smtClean="0">
                <a:solidFill>
                  <a:srgbClr val="262626"/>
                </a:solidFill>
                <a:latin typeface="Calibri" pitchFamily="34" charset="0"/>
              </a:rPr>
              <a:t>XX</a:t>
            </a:r>
          </a:p>
          <a:p>
            <a:pPr marL="742950" lvl="1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fr-FR" sz="1200" b="0" dirty="0" smtClean="0">
                <a:solidFill>
                  <a:srgbClr val="262626"/>
                </a:solidFill>
                <a:latin typeface="Calibri" pitchFamily="34" charset="0"/>
              </a:rPr>
              <a:t>XX</a:t>
            </a:r>
          </a:p>
          <a:p>
            <a:pPr marL="742950" lvl="1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fr-FR" sz="1200" b="0" dirty="0" smtClean="0">
                <a:solidFill>
                  <a:srgbClr val="262626"/>
                </a:solidFill>
                <a:latin typeface="Calibri" pitchFamily="34" charset="0"/>
              </a:rPr>
              <a:t>XX</a:t>
            </a:r>
            <a:endParaRPr lang="fr-FR" sz="1200" b="0" dirty="0">
              <a:solidFill>
                <a:srgbClr val="262626"/>
              </a:solidFill>
              <a:latin typeface="Calibri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202543" y="1338433"/>
            <a:ext cx="4104184" cy="274010"/>
          </a:xfrm>
          <a:prstGeom prst="roundRect">
            <a:avLst>
              <a:gd name="adj" fmla="val 44969"/>
            </a:avLst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Objectifs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89327" y="721860"/>
            <a:ext cx="6535031" cy="516512"/>
          </a:xfrm>
          <a:prstGeom prst="roundRect">
            <a:avLst>
              <a:gd name="adj" fmla="val 16667"/>
            </a:avLst>
          </a:prstGeom>
          <a:noFill/>
          <a:ln>
            <a:solidFill>
              <a:schemeClr val="accent2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5440" tIns="33640" rIns="85440" bIns="33640" anchor="t"/>
          <a:lstStyle/>
          <a:p>
            <a:pPr>
              <a:defRPr/>
            </a:pPr>
            <a:r>
              <a:rPr lang="fr-FR" sz="1200" i="1" u="sng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Constats</a:t>
            </a:r>
            <a:r>
              <a:rPr lang="fr-FR" sz="1200" i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: </a:t>
            </a:r>
            <a:r>
              <a:rPr lang="fr-FR" sz="1200" b="0" i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XXX</a:t>
            </a:r>
          </a:p>
          <a:p>
            <a:pPr>
              <a:defRPr/>
            </a:pPr>
            <a:r>
              <a:rPr lang="fr-FR" sz="1200" b="0" i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</a:p>
        </p:txBody>
      </p:sp>
      <p:graphicFrame>
        <p:nvGraphicFramePr>
          <p:cNvPr id="10" name="Tableau 9"/>
          <p:cNvGraphicFramePr>
            <a:graphicFrameLocks noGrp="1"/>
          </p:cNvGraphicFramePr>
          <p:nvPr>
            <p:extLst/>
          </p:nvPr>
        </p:nvGraphicFramePr>
        <p:xfrm>
          <a:off x="202549" y="2727602"/>
          <a:ext cx="8754016" cy="231420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71712"/>
                <a:gridCol w="515192"/>
                <a:gridCol w="515192"/>
                <a:gridCol w="515192"/>
                <a:gridCol w="515192"/>
                <a:gridCol w="515192"/>
                <a:gridCol w="515192"/>
                <a:gridCol w="515192"/>
                <a:gridCol w="515192"/>
                <a:gridCol w="515192"/>
                <a:gridCol w="515192"/>
                <a:gridCol w="515192"/>
                <a:gridCol w="515192"/>
              </a:tblGrid>
              <a:tr h="393969"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Etapes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 gridSpan="3">
                  <a:txBody>
                    <a:bodyPr/>
                    <a:lstStyle/>
                    <a:p>
                      <a:r>
                        <a:rPr lang="fr-FR" sz="1200" dirty="0" smtClean="0"/>
                        <a:t>Trim.1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fr-FR" sz="1200" dirty="0" smtClean="0"/>
                        <a:t>Trim.2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fr-FR" sz="1200" dirty="0" smtClean="0"/>
                        <a:t>Trim.3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r>
                        <a:rPr lang="fr-FR" sz="1200" dirty="0" smtClean="0"/>
                        <a:t>Trim.4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/>
                      </a:pPr>
                      <a:r>
                        <a:rPr lang="fr-FR" sz="1200" dirty="0" smtClean="0"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2"/>
                      </a:pPr>
                      <a:r>
                        <a:rPr lang="fr-FR" sz="1200" dirty="0" smtClean="0"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3"/>
                      </a:pPr>
                      <a:r>
                        <a:rPr lang="fr-FR" sz="1200" dirty="0" smtClean="0"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X</a:t>
                      </a: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4"/>
                      </a:pP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5"/>
                      </a:pP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6"/>
                      </a:pP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28252">
                <a:tc>
                  <a:txBody>
                    <a:bodyPr/>
                    <a:lstStyle/>
                    <a:p>
                      <a:pPr marL="228600" indent="-228600">
                        <a:buFont typeface="+mj-lt"/>
                        <a:buAutoNum type="arabicPeriod" startAt="7"/>
                      </a:pPr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Rectangle 15"/>
          <p:cNvSpPr>
            <a:spLocks noChangeArrowheads="1"/>
          </p:cNvSpPr>
          <p:nvPr/>
        </p:nvSpPr>
        <p:spPr bwMode="auto">
          <a:xfrm>
            <a:off x="255114" y="5627000"/>
            <a:ext cx="4051614" cy="1054078"/>
          </a:xfrm>
          <a:prstGeom prst="roundRect">
            <a:avLst>
              <a:gd name="adj" fmla="val 3799"/>
            </a:avLst>
          </a:prstGeom>
          <a:noFill/>
          <a:ln w="28575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lIns="84098" tIns="84098" rIns="84098" bIns="84098" anchor="t"/>
          <a:lstStyle/>
          <a:p>
            <a:pPr marL="285750" indent="-285750" algn="just" eaLnBrk="0" hangingPunct="0">
              <a:lnSpc>
                <a:spcPct val="85000"/>
              </a:lnSpc>
              <a:buClr>
                <a:schemeClr val="accent6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300" b="0" dirty="0" smtClean="0">
              <a:solidFill>
                <a:srgbClr val="262626"/>
              </a:solidFill>
              <a:latin typeface="Calibri" pitchFamily="34" charset="0"/>
            </a:endParaRP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3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200" b="0" dirty="0" smtClean="0">
                <a:latin typeface="Calibri" pitchFamily="34" charset="0"/>
                <a:cs typeface="Calibri" pitchFamily="34" charset="0"/>
              </a:rPr>
              <a:t>XX</a:t>
            </a:r>
            <a:endParaRPr lang="fr-FR" sz="1200" b="0" dirty="0">
              <a:solidFill>
                <a:srgbClr val="262626"/>
              </a:solidFill>
              <a:latin typeface="Calibri" pitchFamily="34" charset="0"/>
            </a:endParaRPr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268330" y="5417372"/>
            <a:ext cx="2544528" cy="274010"/>
          </a:xfrm>
          <a:prstGeom prst="roundRect">
            <a:avLst>
              <a:gd name="adj" fmla="val 44969"/>
            </a:avLst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Moyens nécessaires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graphicFrame>
        <p:nvGraphicFramePr>
          <p:cNvPr id="16" name="Tableau 15"/>
          <p:cNvGraphicFramePr>
            <a:graphicFrameLocks noGrp="1"/>
          </p:cNvGraphicFramePr>
          <p:nvPr/>
        </p:nvGraphicFramePr>
        <p:xfrm>
          <a:off x="4372512" y="5309478"/>
          <a:ext cx="4584051" cy="13716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498934"/>
                <a:gridCol w="1008529"/>
                <a:gridCol w="1076588"/>
              </a:tblGrid>
              <a:tr h="123291"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V. initiale</a:t>
                      </a:r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200" dirty="0" smtClean="0"/>
                        <a:t>V. cible</a:t>
                      </a:r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123291"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123291"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123291"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123291"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2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4280037" y="5282902"/>
            <a:ext cx="2544528" cy="274010"/>
          </a:xfrm>
          <a:prstGeom prst="roundRect">
            <a:avLst>
              <a:gd name="adj" fmla="val 44969"/>
            </a:avLst>
          </a:prstGeom>
          <a:solidFill>
            <a:schemeClr val="accent5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Indicateurs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202543" y="2774823"/>
            <a:ext cx="2544528" cy="274010"/>
          </a:xfrm>
          <a:prstGeom prst="roundRect">
            <a:avLst>
              <a:gd name="adj" fmla="val 44969"/>
            </a:avLst>
          </a:prstGeom>
          <a:solidFill>
            <a:schemeClr val="accent2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Etapes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656444" y="5930895"/>
            <a:ext cx="2623593" cy="820271"/>
          </a:xfrm>
          <a:prstGeom prst="wedgeRectCallout">
            <a:avLst>
              <a:gd name="adj1" fmla="val -46973"/>
              <a:gd name="adj2" fmla="val -99795"/>
            </a:avLst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moyens humains, financiers, techniques, juridiques…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988859" y="5691383"/>
            <a:ext cx="3845859" cy="989696"/>
          </a:xfrm>
          <a:prstGeom prst="wedgeRectCallout">
            <a:avLst>
              <a:gd name="adj1" fmla="val -47672"/>
              <a:gd name="adj2" fmla="val -71262"/>
            </a:avLst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>
                <a:solidFill>
                  <a:schemeClr val="tx1"/>
                </a:solidFill>
              </a:rPr>
              <a:t>Indicateurs de réalisation </a:t>
            </a:r>
            <a:r>
              <a:rPr lang="fr-FR" sz="1600" dirty="0" smtClean="0">
                <a:solidFill>
                  <a:schemeClr val="tx1"/>
                </a:solidFill>
              </a:rPr>
              <a:t>(permettent de suivre ce qui doit être fait)</a:t>
            </a:r>
            <a:endParaRPr lang="fr-FR" sz="1600" dirty="0">
              <a:solidFill>
                <a:schemeClr val="tx1"/>
              </a:solidFill>
            </a:endParaRPr>
          </a:p>
          <a:p>
            <a:r>
              <a:rPr lang="fr-FR" sz="1600" dirty="0">
                <a:solidFill>
                  <a:schemeClr val="tx1"/>
                </a:solidFill>
              </a:rPr>
              <a:t>Indicateurs de résultats et d’impacts </a:t>
            </a:r>
            <a:r>
              <a:rPr lang="fr-FR" sz="1600" dirty="0" smtClean="0">
                <a:solidFill>
                  <a:schemeClr val="tx1"/>
                </a:solidFill>
              </a:rPr>
              <a:t>(évaluent les effets des actions)</a:t>
            </a:r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783933" y="1742519"/>
            <a:ext cx="2623593" cy="820271"/>
          </a:xfrm>
          <a:prstGeom prst="wedgeRectCallout">
            <a:avLst>
              <a:gd name="adj1" fmla="val -105916"/>
              <a:gd name="adj2" fmla="val -50615"/>
            </a:avLst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finalité à moyen/long term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60340" y="2714738"/>
            <a:ext cx="2623593" cy="820271"/>
          </a:xfrm>
          <a:prstGeom prst="wedgeRectCallout">
            <a:avLst>
              <a:gd name="adj1" fmla="val -46973"/>
              <a:gd name="adj2" fmla="val -99795"/>
            </a:avLst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cible à plus court term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145044" y="569980"/>
            <a:ext cx="2623593" cy="820271"/>
          </a:xfrm>
          <a:prstGeom prst="wedgeRectCallout">
            <a:avLst>
              <a:gd name="adj1" fmla="val -78238"/>
              <a:gd name="adj2" fmla="val -3074"/>
            </a:avLst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i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roblèmes identifiés</a:t>
            </a:r>
            <a:endParaRPr lang="fr-FR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341062" y="157705"/>
            <a:ext cx="1416189" cy="820271"/>
          </a:xfrm>
          <a:prstGeom prst="wedgeRectCallout">
            <a:avLst>
              <a:gd name="adj1" fmla="val 60393"/>
              <a:gd name="adj2" fmla="val 11680"/>
            </a:avLst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Responsable de l’action</a:t>
            </a:r>
            <a:endParaRPr lang="fr-FR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329675" y="1954552"/>
            <a:ext cx="1416189" cy="820271"/>
          </a:xfrm>
          <a:prstGeom prst="wedgeRectCallout">
            <a:avLst>
              <a:gd name="adj1" fmla="val -35509"/>
              <a:gd name="adj2" fmla="val -111271"/>
            </a:avLst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Personnes ou structures impliquées</a:t>
            </a:r>
            <a:endParaRPr lang="fr-FR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893174" y="179404"/>
            <a:ext cx="1105833" cy="422700"/>
          </a:xfrm>
          <a:prstGeom prst="wedgeRectCallout">
            <a:avLst>
              <a:gd name="adj1" fmla="val -87101"/>
              <a:gd name="adj2" fmla="val 2004"/>
            </a:avLst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N° fiche</a:t>
            </a:r>
            <a:endParaRPr lang="fr-FR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219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5"/>
          <p:cNvSpPr>
            <a:spLocks noChangeArrowheads="1"/>
          </p:cNvSpPr>
          <p:nvPr/>
        </p:nvSpPr>
        <p:spPr bwMode="auto">
          <a:xfrm>
            <a:off x="189326" y="1048871"/>
            <a:ext cx="8781305" cy="2078903"/>
          </a:xfrm>
          <a:prstGeom prst="roundRect">
            <a:avLst>
              <a:gd name="adj" fmla="val 3799"/>
            </a:avLst>
          </a:prstGeom>
          <a:noFill/>
          <a:ln w="2857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84098" tIns="84098" rIns="84098" bIns="84098" anchor="t"/>
          <a:lstStyle/>
          <a:p>
            <a:pPr marL="285750" indent="-285750" algn="just" eaLnBrk="0" hangingPunct="0">
              <a:lnSpc>
                <a:spcPct val="85000"/>
              </a:lnSpc>
              <a:buClr>
                <a:schemeClr val="accent5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300" b="0" dirty="0" smtClean="0">
              <a:solidFill>
                <a:srgbClr val="262626"/>
              </a:solidFill>
              <a:latin typeface="Calibri" pitchFamily="34" charset="0"/>
            </a:endParaRP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5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200" b="0" i="1" dirty="0" smtClean="0">
                <a:latin typeface="Calibri" pitchFamily="34" charset="0"/>
                <a:cs typeface="Calibri" pitchFamily="34" charset="0"/>
              </a:rPr>
              <a:t>XX</a:t>
            </a:r>
            <a:endParaRPr lang="fr-FR" sz="1200" b="0" dirty="0">
              <a:solidFill>
                <a:srgbClr val="262626"/>
              </a:solidFill>
              <a:latin typeface="Calibri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75649" y="840894"/>
            <a:ext cx="4104184" cy="274010"/>
          </a:xfrm>
          <a:prstGeom prst="roundRect">
            <a:avLst>
              <a:gd name="adj" fmla="val 44969"/>
            </a:avLst>
          </a:prstGeom>
          <a:solidFill>
            <a:schemeClr val="accent5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Autres précisions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4" name="Rectangle 15"/>
          <p:cNvSpPr>
            <a:spLocks noChangeArrowheads="1"/>
          </p:cNvSpPr>
          <p:nvPr/>
        </p:nvSpPr>
        <p:spPr bwMode="auto">
          <a:xfrm>
            <a:off x="175649" y="3812372"/>
            <a:ext cx="8781305" cy="2306040"/>
          </a:xfrm>
          <a:prstGeom prst="roundRect">
            <a:avLst>
              <a:gd name="adj" fmla="val 3799"/>
            </a:avLst>
          </a:prstGeom>
          <a:noFill/>
          <a:ln w="2857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84098" tIns="84098" rIns="84098" bIns="84098" anchor="t"/>
          <a:lstStyle/>
          <a:p>
            <a:pPr marL="285750" indent="-285750" algn="just" eaLnBrk="0" hangingPunct="0">
              <a:lnSpc>
                <a:spcPct val="85000"/>
              </a:lnSpc>
              <a:buClr>
                <a:schemeClr val="accent6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300" b="0" dirty="0" smtClean="0">
              <a:solidFill>
                <a:srgbClr val="262626"/>
              </a:solidFill>
              <a:latin typeface="Calibri" pitchFamily="34" charset="0"/>
            </a:endParaRPr>
          </a:p>
          <a:p>
            <a:pPr marL="285750" indent="-285750" algn="just" eaLnBrk="0" hangingPunct="0">
              <a:lnSpc>
                <a:spcPct val="85000"/>
              </a:lnSpc>
              <a:buClr>
                <a:schemeClr val="accent6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sz="1200" b="0" i="1" dirty="0" smtClean="0">
                <a:latin typeface="Calibri" pitchFamily="34" charset="0"/>
                <a:cs typeface="Calibri" pitchFamily="34" charset="0"/>
              </a:rPr>
              <a:t>XX</a:t>
            </a:r>
            <a:endParaRPr lang="fr-FR" sz="1200" b="0" dirty="0">
              <a:solidFill>
                <a:srgbClr val="262626"/>
              </a:solidFill>
              <a:latin typeface="Calibri" pitchFamily="34" charset="0"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161972" y="3604395"/>
            <a:ext cx="4104184" cy="274010"/>
          </a:xfrm>
          <a:prstGeom prst="roundRect">
            <a:avLst>
              <a:gd name="adj" fmla="val 44969"/>
            </a:avLst>
          </a:prstGeom>
          <a:solidFill>
            <a:schemeClr val="accent6"/>
          </a:solidFill>
          <a:ln w="9525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5440" tIns="42719" rIns="85440" bIns="42719" anchor="ctr"/>
          <a:lstStyle/>
          <a:p>
            <a:pPr>
              <a:defRPr/>
            </a:pPr>
            <a:r>
              <a:rPr lang="fr-FR" sz="1200" dirty="0" smtClean="0">
                <a:solidFill>
                  <a:srgbClr val="FFFFFF"/>
                </a:solidFill>
                <a:latin typeface="Calibri" pitchFamily="34" charset="0"/>
              </a:rPr>
              <a:t>Points de vigilance</a:t>
            </a:r>
            <a:endParaRPr lang="fr-FR" sz="12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133055" y="94130"/>
            <a:ext cx="5148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600" dirty="0" smtClean="0">
                <a:solidFill>
                  <a:schemeClr val="bg1"/>
                </a:solidFill>
              </a:rPr>
              <a:t>X.X</a:t>
            </a:r>
            <a:endParaRPr lang="fr-FR" sz="1600" dirty="0">
              <a:solidFill>
                <a:schemeClr val="bg1"/>
              </a:solidFill>
            </a:endParaRPr>
          </a:p>
        </p:txBody>
      </p:sp>
      <p:sp>
        <p:nvSpPr>
          <p:cNvPr id="9" name="Titre 8"/>
          <p:cNvSpPr txBox="1">
            <a:spLocks noGrp="1"/>
          </p:cNvSpPr>
          <p:nvPr>
            <p:ph type="title"/>
          </p:nvPr>
        </p:nvSpPr>
        <p:spPr>
          <a:xfrm>
            <a:off x="2244725" y="66675"/>
            <a:ext cx="6726238" cy="36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039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Groupe des pilotes d’action </a:t>
            </a:r>
            <a:endParaRPr lang="fr-FR" sz="1800" i="1" dirty="0">
              <a:solidFill>
                <a:srgbClr val="FF0000"/>
              </a:solidFill>
            </a:endParaRPr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120192"/>
              </p:ext>
            </p:extLst>
          </p:nvPr>
        </p:nvGraphicFramePr>
        <p:xfrm>
          <a:off x="351329" y="1220616"/>
          <a:ext cx="8377518" cy="5448988"/>
        </p:xfrm>
        <a:graphic>
          <a:graphicData uri="http://schemas.openxmlformats.org/drawingml/2006/table">
            <a:tbl>
              <a:tblPr firstRow="1" firstCol="1" bandRow="1"/>
              <a:tblGrid>
                <a:gridCol w="1799443"/>
                <a:gridCol w="3175956"/>
                <a:gridCol w="3402119"/>
              </a:tblGrid>
              <a:tr h="52166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rientations</a:t>
                      </a:r>
                      <a:endParaRPr lang="fr-FR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Participants</a:t>
                      </a:r>
                      <a:endParaRPr lang="fr-FR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Travaux réalisés</a:t>
                      </a:r>
                      <a:endParaRPr lang="fr-FR" sz="18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42422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6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quipe-projet</a:t>
                      </a:r>
                      <a:endParaRPr lang="fr-FR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si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fr-FR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ordination générale - Synthès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8792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Coordonnateur de l’orientation 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res du groupe de travail </a:t>
                      </a:r>
                      <a:endParaRPr lang="fr-FR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</a:t>
                      </a:r>
                      <a:endParaRPr lang="fr-FR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8792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Coordonnateur de l’orientation 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res du groupe de travail </a:t>
                      </a:r>
                      <a:endParaRPr lang="fr-FR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</a:t>
                      </a:r>
                      <a:endParaRPr lang="fr-FR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8792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Coordonnateur de l’orientation 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res du groupe de travail </a:t>
                      </a:r>
                      <a:endParaRPr lang="fr-FR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</a:t>
                      </a:r>
                      <a:endParaRPr lang="fr-FR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8792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Coordonnateur de l’orientation 4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600" dirty="0" smtClean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res du groupe de travail 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fr-FR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x</a:t>
                      </a:r>
                      <a:endParaRPr lang="fr-FR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8792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Coordonnateur de l’orientation x…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X</a:t>
                      </a:r>
                      <a:endParaRPr lang="fr-FR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6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xx</a:t>
                      </a:r>
                      <a:endParaRPr lang="fr-FR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ZoneTexte 3"/>
          <p:cNvSpPr txBox="1"/>
          <p:nvPr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085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Rythmicité et calendrier des réunions</a:t>
            </a:r>
            <a:endParaRPr lang="fr-FR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186726889"/>
              </p:ext>
            </p:extLst>
          </p:nvPr>
        </p:nvGraphicFramePr>
        <p:xfrm>
          <a:off x="2208228" y="1231291"/>
          <a:ext cx="6705600" cy="39377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6" name="Connecteur droit avec flèche 5"/>
          <p:cNvCxnSpPr/>
          <p:nvPr/>
        </p:nvCxnSpPr>
        <p:spPr>
          <a:xfrm>
            <a:off x="2724346" y="3912124"/>
            <a:ext cx="0" cy="33936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2448611" y="4251489"/>
            <a:ext cx="740003" cy="26395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/>
              <a:t>Gpe</a:t>
            </a:r>
            <a:r>
              <a:rPr lang="fr-FR" dirty="0" smtClean="0"/>
              <a:t> W</a:t>
            </a:r>
            <a:endParaRPr lang="fr-FR" dirty="0"/>
          </a:p>
        </p:txBody>
      </p:sp>
      <p:cxnSp>
        <p:nvCxnSpPr>
          <p:cNvPr id="8" name="Connecteur droit avec flèche 7"/>
          <p:cNvCxnSpPr/>
          <p:nvPr/>
        </p:nvCxnSpPr>
        <p:spPr>
          <a:xfrm>
            <a:off x="4180786" y="3912124"/>
            <a:ext cx="0" cy="33936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avec flèche 8"/>
          <p:cNvCxnSpPr/>
          <p:nvPr/>
        </p:nvCxnSpPr>
        <p:spPr>
          <a:xfrm>
            <a:off x="5561028" y="3926264"/>
            <a:ext cx="0" cy="33936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avec flèche 9"/>
          <p:cNvCxnSpPr/>
          <p:nvPr/>
        </p:nvCxnSpPr>
        <p:spPr>
          <a:xfrm>
            <a:off x="6909846" y="3912123"/>
            <a:ext cx="0" cy="33936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avec flèche 10"/>
          <p:cNvCxnSpPr/>
          <p:nvPr/>
        </p:nvCxnSpPr>
        <p:spPr>
          <a:xfrm>
            <a:off x="8348220" y="3912122"/>
            <a:ext cx="0" cy="33936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3799000" y="4265629"/>
            <a:ext cx="763571" cy="26395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/>
              <a:t>Gpe</a:t>
            </a:r>
            <a:r>
              <a:rPr lang="fr-FR" dirty="0" smtClean="0"/>
              <a:t> W</a:t>
            </a:r>
            <a:endParaRPr lang="fr-FR" dirty="0"/>
          </a:p>
        </p:txBody>
      </p:sp>
      <p:sp>
        <p:nvSpPr>
          <p:cNvPr id="13" name="Rectangle 12"/>
          <p:cNvSpPr/>
          <p:nvPr/>
        </p:nvSpPr>
        <p:spPr>
          <a:xfrm>
            <a:off x="5222449" y="4271913"/>
            <a:ext cx="677158" cy="2639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/>
              <a:t>Gpe</a:t>
            </a:r>
            <a:r>
              <a:rPr lang="fr-FR" dirty="0" smtClean="0"/>
              <a:t> W</a:t>
            </a:r>
            <a:endParaRPr lang="fr-FR" dirty="0"/>
          </a:p>
        </p:txBody>
      </p:sp>
      <p:sp>
        <p:nvSpPr>
          <p:cNvPr id="14" name="Rectangle 13"/>
          <p:cNvSpPr/>
          <p:nvPr/>
        </p:nvSpPr>
        <p:spPr>
          <a:xfrm>
            <a:off x="6579909" y="4268771"/>
            <a:ext cx="707009" cy="26395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/>
              <a:t>Gpe</a:t>
            </a:r>
            <a:r>
              <a:rPr lang="fr-FR" dirty="0" smtClean="0"/>
              <a:t> W</a:t>
            </a:r>
            <a:endParaRPr lang="fr-FR" dirty="0"/>
          </a:p>
        </p:txBody>
      </p:sp>
      <p:sp>
        <p:nvSpPr>
          <p:cNvPr id="15" name="Rectangle 14"/>
          <p:cNvSpPr/>
          <p:nvPr/>
        </p:nvSpPr>
        <p:spPr>
          <a:xfrm>
            <a:off x="8012784" y="4265629"/>
            <a:ext cx="670872" cy="2639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err="1" smtClean="0"/>
              <a:t>Gpe</a:t>
            </a:r>
            <a:r>
              <a:rPr lang="fr-FR" dirty="0" smtClean="0"/>
              <a:t> W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6386658" y="2446254"/>
            <a:ext cx="1800520" cy="499621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Réunions d’harmonisation et de veille toutes les 7 SEMAINES</a:t>
            </a:r>
            <a:endParaRPr lang="fr-FR" dirty="0"/>
          </a:p>
        </p:txBody>
      </p:sp>
      <p:sp>
        <p:nvSpPr>
          <p:cNvPr id="5" name="Rectangle 4"/>
          <p:cNvSpPr/>
          <p:nvPr/>
        </p:nvSpPr>
        <p:spPr>
          <a:xfrm>
            <a:off x="2448612" y="4779390"/>
            <a:ext cx="6308890" cy="47134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Réunions à déterminer par les pilotes  et les groupes de travail (autant que de besoins)</a:t>
            </a:r>
            <a:endParaRPr lang="fr-FR" dirty="0"/>
          </a:p>
        </p:txBody>
      </p:sp>
      <p:sp>
        <p:nvSpPr>
          <p:cNvPr id="17" name="Accolade ouvrante 16"/>
          <p:cNvSpPr/>
          <p:nvPr/>
        </p:nvSpPr>
        <p:spPr>
          <a:xfrm rot="16200000" flipH="1">
            <a:off x="5072329" y="-1108360"/>
            <a:ext cx="682026" cy="6292395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/>
          <p:cNvSpPr/>
          <p:nvPr/>
        </p:nvSpPr>
        <p:spPr>
          <a:xfrm>
            <a:off x="2724346" y="1196753"/>
            <a:ext cx="5524108" cy="518926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REUNION DE LANCEMENT DES GROUPES DE TRAVAIL DU XX au XX </a:t>
            </a:r>
            <a:endParaRPr lang="fr-FR" dirty="0"/>
          </a:p>
        </p:txBody>
      </p:sp>
      <p:sp>
        <p:nvSpPr>
          <p:cNvPr id="16" name="ZoneTexte 15"/>
          <p:cNvSpPr txBox="1"/>
          <p:nvPr/>
        </p:nvSpPr>
        <p:spPr>
          <a:xfrm>
            <a:off x="7868992" y="167426"/>
            <a:ext cx="10560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ogo AR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64146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rdre du jour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3059868" y="1909481"/>
            <a:ext cx="5688105" cy="48261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7800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541338" indent="-185738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tabLst>
                <a:tab pos="541338" algn="l"/>
              </a:tabLst>
              <a:defRPr sz="1400" kern="120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2pPr>
            <a:lvl3pPr marL="715963" indent="-174625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marche et calendrier</a:t>
            </a: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Méthode de tr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roulement des travaux</a:t>
            </a: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s grandes orientations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 plan d’action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Tableau de synthèse des coûts et budgets mobilisés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 calendrier</a:t>
            </a: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Calendrier et modalités de suiv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Engagement </a:t>
            </a: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503790" y="1913489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Feuille de route :</a:t>
            </a:r>
            <a:endParaRPr lang="fr-FR" sz="1800" dirty="0">
              <a:solidFill>
                <a:schemeClr val="accent1"/>
              </a:solidFill>
            </a:endParaRP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e processus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16669" y="3135406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Feuille de route :</a:t>
            </a: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</a:t>
            </a:r>
            <a:r>
              <a:rPr lang="fr-FR" sz="1800" dirty="0" smtClean="0">
                <a:solidFill>
                  <a:schemeClr val="accent1"/>
                </a:solidFill>
              </a:rPr>
              <a:t>es résultats</a:t>
            </a:r>
            <a:endParaRPr lang="fr-FR" sz="1200" dirty="0">
              <a:solidFill>
                <a:schemeClr val="accent1"/>
              </a:solidFill>
            </a:endParaRPr>
          </a:p>
        </p:txBody>
      </p:sp>
      <p:sp>
        <p:nvSpPr>
          <p:cNvPr id="23" name="Rectangle à coins arrondis 22"/>
          <p:cNvSpPr/>
          <p:nvPr/>
        </p:nvSpPr>
        <p:spPr>
          <a:xfrm>
            <a:off x="542428" y="1298081"/>
            <a:ext cx="3765177" cy="33727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>
                <a:solidFill>
                  <a:schemeClr val="accent1"/>
                </a:solidFill>
              </a:rPr>
              <a:t>Accueil et tour de tabl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7547019" y="334850"/>
            <a:ext cx="1493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OGO ARS</a:t>
            </a:r>
            <a:endParaRPr lang="fr-FR" dirty="0"/>
          </a:p>
        </p:txBody>
      </p:sp>
      <p:sp>
        <p:nvSpPr>
          <p:cNvPr id="9" name="Rectangle à coins arrondis 8"/>
          <p:cNvSpPr/>
          <p:nvPr/>
        </p:nvSpPr>
        <p:spPr>
          <a:xfrm>
            <a:off x="450126" y="4305237"/>
            <a:ext cx="2474259" cy="866639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La mise en œuvre de la Feuille de route</a:t>
            </a:r>
            <a:endParaRPr lang="fr-FR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8451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rdre du jour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3059868" y="1909481"/>
            <a:ext cx="5688105" cy="48261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7800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541338" indent="-185738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tabLst>
                <a:tab pos="541338" algn="l"/>
              </a:tabLst>
              <a:defRPr sz="1400" kern="120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2pPr>
            <a:lvl3pPr marL="715963" indent="-174625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endParaRPr lang="fr-FR" sz="2000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marche et calendrier</a:t>
            </a: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Méthode de tr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roulement des travaux</a:t>
            </a: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s grandes orientations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 plan d’action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Tableau de synthèse des coûts et budgets mobilisés</a:t>
            </a: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Calendrier et modalités de suiv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Engagement </a:t>
            </a: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516669" y="2158188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Feuille de route :</a:t>
            </a:r>
            <a:endParaRPr lang="fr-FR" sz="1800" dirty="0">
              <a:solidFill>
                <a:schemeClr val="accent1"/>
              </a:solidFill>
            </a:endParaRP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e processus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90910" y="3547530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Feuille de route :</a:t>
            </a: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</a:t>
            </a:r>
            <a:r>
              <a:rPr lang="fr-FR" sz="1800" dirty="0" smtClean="0">
                <a:solidFill>
                  <a:schemeClr val="accent1"/>
                </a:solidFill>
              </a:rPr>
              <a:t>es résultats</a:t>
            </a:r>
            <a:endParaRPr lang="fr-FR" sz="1200" dirty="0">
              <a:solidFill>
                <a:schemeClr val="accent1"/>
              </a:solidFill>
            </a:endParaRPr>
          </a:p>
        </p:txBody>
      </p:sp>
      <p:sp>
        <p:nvSpPr>
          <p:cNvPr id="23" name="Rectangle à coins arrondis 22"/>
          <p:cNvSpPr/>
          <p:nvPr/>
        </p:nvSpPr>
        <p:spPr>
          <a:xfrm>
            <a:off x="542428" y="1298081"/>
            <a:ext cx="3765177" cy="33727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>
                <a:solidFill>
                  <a:schemeClr val="accent1"/>
                </a:solidFill>
              </a:rPr>
              <a:t>Accueil et tour de tabl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7547019" y="334850"/>
            <a:ext cx="1493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OGO ARS</a:t>
            </a:r>
            <a:endParaRPr lang="fr-FR" dirty="0"/>
          </a:p>
        </p:txBody>
      </p:sp>
      <p:sp>
        <p:nvSpPr>
          <p:cNvPr id="9" name="Rectangle à coins arrondis 8"/>
          <p:cNvSpPr/>
          <p:nvPr/>
        </p:nvSpPr>
        <p:spPr>
          <a:xfrm>
            <a:off x="488764" y="4846149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La mise en œuvre de la Feuille de route</a:t>
            </a:r>
            <a:endParaRPr lang="fr-FR" sz="1200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0972" y="856330"/>
            <a:ext cx="8730000" cy="447660"/>
          </a:xfrm>
        </p:spPr>
        <p:txBody>
          <a:bodyPr>
            <a:noAutofit/>
          </a:bodyPr>
          <a:lstStyle/>
          <a:p>
            <a:r>
              <a:rPr lang="fr-FR" dirty="0" smtClean="0"/>
              <a:t>Prochaines étapes</a:t>
            </a:r>
            <a:endParaRPr lang="fr-FR" dirty="0"/>
          </a:p>
        </p:txBody>
      </p:sp>
      <p:sp>
        <p:nvSpPr>
          <p:cNvPr id="11" name="ZoneTexte 8"/>
          <p:cNvSpPr txBox="1"/>
          <p:nvPr/>
        </p:nvSpPr>
        <p:spPr>
          <a:xfrm>
            <a:off x="144759" y="3529197"/>
            <a:ext cx="1921015" cy="2031325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buFont typeface="+mj-lt"/>
              <a:buAutoNum type="arabicPeriod"/>
            </a:pPr>
            <a:r>
              <a:rPr lang="fr-FR" sz="1400" dirty="0" smtClean="0">
                <a:solidFill>
                  <a:schemeClr val="accent3"/>
                </a:solidFill>
              </a:rPr>
              <a:t>Choix du territoire d’action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400" dirty="0" smtClean="0">
                <a:solidFill>
                  <a:schemeClr val="accent3"/>
                </a:solidFill>
              </a:rPr>
              <a:t>Formalisation de la démarche par convention ARS-ANAP</a:t>
            </a:r>
          </a:p>
          <a:p>
            <a:pPr marL="0" lvl="1"/>
            <a:r>
              <a:rPr lang="fr-FR" sz="1400" dirty="0" smtClean="0">
                <a:solidFill>
                  <a:schemeClr val="accent3"/>
                </a:solidFill>
              </a:rPr>
              <a:t>3. Cartographie du territoire</a:t>
            </a:r>
          </a:p>
          <a:p>
            <a:endParaRPr lang="fr-FR" sz="1400" dirty="0" smtClean="0">
              <a:solidFill>
                <a:schemeClr val="accent3"/>
              </a:solidFill>
            </a:endParaRPr>
          </a:p>
        </p:txBody>
      </p:sp>
      <p:sp>
        <p:nvSpPr>
          <p:cNvPr id="12" name="ZoneTexte 9"/>
          <p:cNvSpPr txBox="1"/>
          <p:nvPr/>
        </p:nvSpPr>
        <p:spPr>
          <a:xfrm>
            <a:off x="1725148" y="5324347"/>
            <a:ext cx="529954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lvl="1"/>
            <a:r>
              <a:rPr lang="fr-FR" sz="1400" dirty="0" smtClean="0">
                <a:solidFill>
                  <a:schemeClr val="accent3"/>
                </a:solidFill>
              </a:rPr>
              <a:t>Groupes de travail : décembre-février-mars</a:t>
            </a:r>
          </a:p>
          <a:p>
            <a:pPr marL="185738" lvl="1" indent="-179388">
              <a:buFont typeface="+mj-lt"/>
              <a:buAutoNum type="arabicPeriod"/>
            </a:pPr>
            <a:r>
              <a:rPr lang="fr-FR" sz="1400" dirty="0" smtClean="0">
                <a:solidFill>
                  <a:schemeClr val="accent3"/>
                </a:solidFill>
              </a:rPr>
              <a:t>Description et analyse de 5 « portes d’entrée » sur les parcours des territoires considérés (cf. diapo « rosace »)</a:t>
            </a:r>
          </a:p>
          <a:p>
            <a:pPr marL="185738" lvl="1" indent="-179388">
              <a:buFont typeface="+mj-lt"/>
              <a:buAutoNum type="arabicPeriod"/>
            </a:pPr>
            <a:r>
              <a:rPr lang="fr-FR" sz="1400" dirty="0" smtClean="0">
                <a:solidFill>
                  <a:schemeClr val="accent3"/>
                </a:solidFill>
              </a:rPr>
              <a:t>Identification des points de difficulté opérationnels sur chacune de ces portes d’entrée et analyse causale</a:t>
            </a:r>
          </a:p>
          <a:p>
            <a:pPr marL="185738" lvl="1" indent="-179388">
              <a:buFont typeface="+mj-lt"/>
              <a:buAutoNum type="arabicPeriod"/>
            </a:pPr>
            <a:r>
              <a:rPr lang="fr-FR" sz="1400" dirty="0" smtClean="0">
                <a:solidFill>
                  <a:schemeClr val="accent3"/>
                </a:solidFill>
              </a:rPr>
              <a:t>Formalisation d’un diagnostic et de pistes d’actions partagés</a:t>
            </a:r>
          </a:p>
        </p:txBody>
      </p:sp>
      <p:sp>
        <p:nvSpPr>
          <p:cNvPr id="16" name="ZoneTexte 18"/>
          <p:cNvSpPr txBox="1"/>
          <p:nvPr/>
        </p:nvSpPr>
        <p:spPr>
          <a:xfrm>
            <a:off x="3593818" y="3688851"/>
            <a:ext cx="3386531" cy="1384995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buFont typeface="+mj-lt"/>
              <a:buAutoNum type="arabicPeriod"/>
            </a:pPr>
            <a:r>
              <a:rPr lang="fr-FR" sz="1400" dirty="0" smtClean="0">
                <a:solidFill>
                  <a:schemeClr val="accent3"/>
                </a:solidFill>
              </a:rPr>
              <a:t>Validation du diagnostic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400" dirty="0" smtClean="0">
                <a:solidFill>
                  <a:schemeClr val="accent3"/>
                </a:solidFill>
              </a:rPr>
              <a:t>Méthode de priorisation des pistes d’actions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Construction et validation de la feuille de  route et du plan d’action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400" dirty="0" smtClean="0">
                <a:solidFill>
                  <a:schemeClr val="accent4">
                    <a:lumMod val="75000"/>
                  </a:schemeClr>
                </a:solidFill>
              </a:rPr>
              <a:t>Signature des lettres d’engagement</a:t>
            </a:r>
          </a:p>
        </p:txBody>
      </p:sp>
      <p:cxnSp>
        <p:nvCxnSpPr>
          <p:cNvPr id="18" name="Connecteur droit 17"/>
          <p:cNvCxnSpPr/>
          <p:nvPr/>
        </p:nvCxnSpPr>
        <p:spPr>
          <a:xfrm flipH="1">
            <a:off x="2833352" y="3032332"/>
            <a:ext cx="784527" cy="2338158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7" name="Signalisation droite 2"/>
          <p:cNvSpPr/>
          <p:nvPr/>
        </p:nvSpPr>
        <p:spPr>
          <a:xfrm>
            <a:off x="786600" y="1900817"/>
            <a:ext cx="929308" cy="1080000"/>
          </a:xfrm>
          <a:prstGeom prst="homePlate">
            <a:avLst>
              <a:gd name="adj" fmla="val 20270"/>
            </a:avLst>
          </a:prstGeom>
          <a:solidFill>
            <a:schemeClr val="bg1"/>
          </a:solidFill>
          <a:ln w="38100" cap="flat" cmpd="sng" algn="ctr">
            <a:solidFill>
              <a:srgbClr val="02375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baseline="-25000" dirty="0" smtClean="0">
                <a:solidFill>
                  <a:srgbClr val="02375E"/>
                </a:solidFill>
              </a:rPr>
              <a:t>Cadrage</a:t>
            </a:r>
            <a:endParaRPr lang="fr-FR" sz="1600" baseline="-25000" dirty="0">
              <a:solidFill>
                <a:srgbClr val="02375E"/>
              </a:solidFill>
            </a:endParaRPr>
          </a:p>
        </p:txBody>
      </p:sp>
      <p:sp>
        <p:nvSpPr>
          <p:cNvPr id="28" name="Chevron 27"/>
          <p:cNvSpPr/>
          <p:nvPr/>
        </p:nvSpPr>
        <p:spPr>
          <a:xfrm>
            <a:off x="2726526" y="1900817"/>
            <a:ext cx="1752673" cy="1080000"/>
          </a:xfrm>
          <a:prstGeom prst="chevron">
            <a:avLst>
              <a:gd name="adj" fmla="val 16299"/>
            </a:avLst>
          </a:prstGeom>
          <a:solidFill>
            <a:schemeClr val="bg1"/>
          </a:solidFill>
          <a:ln w="38100" cap="flat" cmpd="sng" algn="ctr">
            <a:solidFill>
              <a:srgbClr val="02375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2. </a:t>
            </a:r>
          </a:p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Diagnostic</a:t>
            </a:r>
            <a:endParaRPr lang="fr-FR" sz="1600" dirty="0">
              <a:solidFill>
                <a:srgbClr val="02375E"/>
              </a:solidFill>
            </a:endParaRPr>
          </a:p>
        </p:txBody>
      </p:sp>
      <p:sp>
        <p:nvSpPr>
          <p:cNvPr id="29" name="Chevron 28"/>
          <p:cNvSpPr/>
          <p:nvPr/>
        </p:nvSpPr>
        <p:spPr>
          <a:xfrm>
            <a:off x="5834665" y="1900817"/>
            <a:ext cx="1863437" cy="1080000"/>
          </a:xfrm>
          <a:prstGeom prst="chevron">
            <a:avLst>
              <a:gd name="adj" fmla="val 16299"/>
            </a:avLst>
          </a:prstGeom>
          <a:solidFill>
            <a:schemeClr val="accent5">
              <a:lumMod val="20000"/>
              <a:lumOff val="80000"/>
            </a:schemeClr>
          </a:solidFill>
          <a:ln w="38100" cap="flat" cmpd="sng" algn="ctr">
            <a:solidFill>
              <a:srgbClr val="02375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4. </a:t>
            </a:r>
          </a:p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Mise en œuvre de la feuille de route</a:t>
            </a:r>
            <a:endParaRPr lang="fr-FR" sz="1600" dirty="0">
              <a:solidFill>
                <a:srgbClr val="02375E"/>
              </a:solidFill>
            </a:endParaRPr>
          </a:p>
        </p:txBody>
      </p:sp>
      <p:sp>
        <p:nvSpPr>
          <p:cNvPr id="30" name="Chevron 29"/>
          <p:cNvSpPr/>
          <p:nvPr/>
        </p:nvSpPr>
        <p:spPr>
          <a:xfrm>
            <a:off x="7586030" y="1900817"/>
            <a:ext cx="1424942" cy="1080000"/>
          </a:xfrm>
          <a:prstGeom prst="chevron">
            <a:avLst>
              <a:gd name="adj" fmla="val 16299"/>
            </a:avLst>
          </a:prstGeom>
          <a:solidFill>
            <a:schemeClr val="bg1"/>
          </a:solidFill>
          <a:ln w="38100" cap="flat" cmpd="sng" algn="ctr">
            <a:solidFill>
              <a:srgbClr val="02375E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Essaimage régional</a:t>
            </a:r>
            <a:endParaRPr lang="fr-FR" sz="1600" dirty="0">
              <a:solidFill>
                <a:srgbClr val="02375E"/>
              </a:solidFill>
            </a:endParaRPr>
          </a:p>
        </p:txBody>
      </p:sp>
      <p:sp>
        <p:nvSpPr>
          <p:cNvPr id="31" name="Chevron 30"/>
          <p:cNvSpPr/>
          <p:nvPr/>
        </p:nvSpPr>
        <p:spPr>
          <a:xfrm>
            <a:off x="4394505" y="1900817"/>
            <a:ext cx="1512168" cy="1080000"/>
          </a:xfrm>
          <a:prstGeom prst="chevron">
            <a:avLst>
              <a:gd name="adj" fmla="val 16299"/>
            </a:avLst>
          </a:prstGeom>
          <a:solidFill>
            <a:schemeClr val="bg1"/>
          </a:solidFill>
          <a:ln w="3810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 smtClean="0">
                <a:solidFill>
                  <a:schemeClr val="tx2">
                    <a:lumMod val="75000"/>
                  </a:schemeClr>
                </a:solidFill>
              </a:rPr>
              <a:t>3. </a:t>
            </a:r>
          </a:p>
          <a:p>
            <a:pPr algn="ctr"/>
            <a:r>
              <a:rPr lang="fr-FR" sz="1600" dirty="0" smtClean="0">
                <a:solidFill>
                  <a:schemeClr val="tx2">
                    <a:lumMod val="75000"/>
                  </a:schemeClr>
                </a:solidFill>
              </a:rPr>
              <a:t>Elaboration Feuille de route</a:t>
            </a:r>
            <a:endParaRPr lang="fr-FR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2" name="Chevron 31"/>
          <p:cNvSpPr/>
          <p:nvPr/>
        </p:nvSpPr>
        <p:spPr>
          <a:xfrm>
            <a:off x="1634227" y="1900816"/>
            <a:ext cx="1191326" cy="1080000"/>
          </a:xfrm>
          <a:prstGeom prst="chevron">
            <a:avLst>
              <a:gd name="adj" fmla="val 16299"/>
            </a:avLst>
          </a:prstGeom>
          <a:solidFill>
            <a:schemeClr val="bg1"/>
          </a:solidFill>
          <a:ln w="38100" cap="flat" cmpd="sng" algn="ctr">
            <a:solidFill>
              <a:srgbClr val="02375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baseline="-25000" dirty="0" smtClean="0">
                <a:solidFill>
                  <a:srgbClr val="02375E"/>
                </a:solidFill>
              </a:rPr>
              <a:t>1. Lancement</a:t>
            </a:r>
            <a:endParaRPr lang="fr-FR" sz="1600" baseline="-25000" dirty="0">
              <a:solidFill>
                <a:srgbClr val="02375E"/>
              </a:solidFill>
            </a:endParaRPr>
          </a:p>
        </p:txBody>
      </p:sp>
      <p:cxnSp>
        <p:nvCxnSpPr>
          <p:cNvPr id="33" name="Connecteur droit 32"/>
          <p:cNvCxnSpPr>
            <a:stCxn id="27" idx="2"/>
          </p:cNvCxnSpPr>
          <p:nvPr/>
        </p:nvCxnSpPr>
        <p:spPr>
          <a:xfrm flipH="1">
            <a:off x="1082137" y="2980817"/>
            <a:ext cx="74932" cy="521801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0" name="Ellipse 39"/>
          <p:cNvSpPr/>
          <p:nvPr/>
        </p:nvSpPr>
        <p:spPr>
          <a:xfrm>
            <a:off x="2574482" y="3033512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ZoneTexte 40"/>
          <p:cNvSpPr txBox="1"/>
          <p:nvPr/>
        </p:nvSpPr>
        <p:spPr>
          <a:xfrm>
            <a:off x="2803858" y="3022073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/>
          </a:p>
        </p:txBody>
      </p:sp>
      <p:sp>
        <p:nvSpPr>
          <p:cNvPr id="42" name="Ellipse 41"/>
          <p:cNvSpPr/>
          <p:nvPr/>
        </p:nvSpPr>
        <p:spPr>
          <a:xfrm>
            <a:off x="3954679" y="2943544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ZoneTexte 42"/>
          <p:cNvSpPr txBox="1"/>
          <p:nvPr/>
        </p:nvSpPr>
        <p:spPr>
          <a:xfrm>
            <a:off x="4196932" y="3022256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  <p:sp>
        <p:nvSpPr>
          <p:cNvPr id="46" name="Ellipse 45"/>
          <p:cNvSpPr/>
          <p:nvPr/>
        </p:nvSpPr>
        <p:spPr>
          <a:xfrm>
            <a:off x="5249302" y="3033513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ZoneTexte 46"/>
          <p:cNvSpPr txBox="1"/>
          <p:nvPr/>
        </p:nvSpPr>
        <p:spPr>
          <a:xfrm>
            <a:off x="5452921" y="2970557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  <p:sp>
        <p:nvSpPr>
          <p:cNvPr id="49" name="Ellipse 48"/>
          <p:cNvSpPr/>
          <p:nvPr/>
        </p:nvSpPr>
        <p:spPr>
          <a:xfrm>
            <a:off x="6655037" y="3052181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Ellipse 49"/>
          <p:cNvSpPr/>
          <p:nvPr/>
        </p:nvSpPr>
        <p:spPr>
          <a:xfrm>
            <a:off x="7295638" y="3039302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ZoneTexte 51"/>
          <p:cNvSpPr txBox="1"/>
          <p:nvPr/>
        </p:nvSpPr>
        <p:spPr>
          <a:xfrm>
            <a:off x="1837175" y="3021573"/>
            <a:ext cx="6543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COPIL :</a:t>
            </a:r>
            <a:endParaRPr lang="fr-FR" dirty="0"/>
          </a:p>
        </p:txBody>
      </p:sp>
      <p:sp>
        <p:nvSpPr>
          <p:cNvPr id="53" name="ZoneTexte 52"/>
          <p:cNvSpPr txBox="1"/>
          <p:nvPr/>
        </p:nvSpPr>
        <p:spPr>
          <a:xfrm>
            <a:off x="1843488" y="3294688"/>
            <a:ext cx="7585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Plénière :</a:t>
            </a:r>
            <a:endParaRPr lang="fr-FR" dirty="0"/>
          </a:p>
        </p:txBody>
      </p:sp>
      <p:sp>
        <p:nvSpPr>
          <p:cNvPr id="54" name="Ellipse 53"/>
          <p:cNvSpPr/>
          <p:nvPr/>
        </p:nvSpPr>
        <p:spPr>
          <a:xfrm>
            <a:off x="5290566" y="3280868"/>
            <a:ext cx="242887" cy="224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ZoneTexte 54"/>
          <p:cNvSpPr txBox="1"/>
          <p:nvPr/>
        </p:nvSpPr>
        <p:spPr>
          <a:xfrm>
            <a:off x="5519942" y="3256551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  <p:sp>
        <p:nvSpPr>
          <p:cNvPr id="56" name="Ellipse 55"/>
          <p:cNvSpPr/>
          <p:nvPr/>
        </p:nvSpPr>
        <p:spPr>
          <a:xfrm>
            <a:off x="2568512" y="3307042"/>
            <a:ext cx="242887" cy="224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7" name="ZoneTexte 56"/>
          <p:cNvSpPr txBox="1"/>
          <p:nvPr/>
        </p:nvSpPr>
        <p:spPr>
          <a:xfrm>
            <a:off x="2759252" y="3308482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  <p:cxnSp>
        <p:nvCxnSpPr>
          <p:cNvPr id="6" name="Connecteur droit 5"/>
          <p:cNvCxnSpPr/>
          <p:nvPr/>
        </p:nvCxnSpPr>
        <p:spPr>
          <a:xfrm flipH="1">
            <a:off x="4842456" y="3026535"/>
            <a:ext cx="12879" cy="6954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Ellipse 36"/>
          <p:cNvSpPr/>
          <p:nvPr/>
        </p:nvSpPr>
        <p:spPr>
          <a:xfrm>
            <a:off x="7336160" y="3291601"/>
            <a:ext cx="242887" cy="224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7"/>
          <p:cNvSpPr/>
          <p:nvPr/>
        </p:nvSpPr>
        <p:spPr>
          <a:xfrm>
            <a:off x="7089820" y="4104708"/>
            <a:ext cx="20541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 smtClean="0">
                <a:solidFill>
                  <a:schemeClr val="accent6"/>
                </a:solidFill>
              </a:rPr>
              <a:t>1. </a:t>
            </a:r>
            <a:r>
              <a:rPr lang="fr-FR" sz="1200" dirty="0">
                <a:solidFill>
                  <a:schemeClr val="accent6"/>
                </a:solidFill>
              </a:rPr>
              <a:t>Opérationnalité du plan d’action</a:t>
            </a:r>
          </a:p>
          <a:p>
            <a:r>
              <a:rPr lang="fr-FR" sz="1200" dirty="0">
                <a:solidFill>
                  <a:schemeClr val="accent6"/>
                </a:solidFill>
              </a:rPr>
              <a:t>2. Consolidation des acquis</a:t>
            </a:r>
          </a:p>
        </p:txBody>
      </p:sp>
      <p:cxnSp>
        <p:nvCxnSpPr>
          <p:cNvPr id="10" name="Connecteur droit 9"/>
          <p:cNvCxnSpPr/>
          <p:nvPr/>
        </p:nvCxnSpPr>
        <p:spPr>
          <a:xfrm>
            <a:off x="7096259" y="3039414"/>
            <a:ext cx="489397" cy="103031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Ellipse 57"/>
          <p:cNvSpPr/>
          <p:nvPr/>
        </p:nvSpPr>
        <p:spPr>
          <a:xfrm>
            <a:off x="6075487" y="3065060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9" name="Ellipse 58"/>
          <p:cNvSpPr/>
          <p:nvPr/>
        </p:nvSpPr>
        <p:spPr>
          <a:xfrm>
            <a:off x="3983041" y="3330653"/>
            <a:ext cx="242887" cy="224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0" name="ZoneTexte 59"/>
          <p:cNvSpPr txBox="1"/>
          <p:nvPr/>
        </p:nvSpPr>
        <p:spPr>
          <a:xfrm>
            <a:off x="4194786" y="3367839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413955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rdre du jour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3059868" y="1909481"/>
            <a:ext cx="5688105" cy="48261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7800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541338" indent="-185738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tabLst>
                <a:tab pos="541338" algn="l"/>
              </a:tabLst>
              <a:defRPr sz="1400" kern="120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2pPr>
            <a:lvl3pPr marL="715963" indent="-174625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endParaRPr lang="fr-FR" sz="2000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marche et calendrier</a:t>
            </a: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Méthode de tr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roulement des travaux</a:t>
            </a: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s grandes orientations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 plan d’action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Tableau de synthèse des coûts et budgets mobilisés</a:t>
            </a: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Calendrier et modalités de suiv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Engagement </a:t>
            </a: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439395" y="2171066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Feuille de route :</a:t>
            </a:r>
            <a:endParaRPr lang="fr-FR" sz="1800" dirty="0">
              <a:solidFill>
                <a:schemeClr val="accent1"/>
              </a:solidFill>
            </a:endParaRP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e processus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90910" y="3496014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Feuille de route :</a:t>
            </a: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</a:t>
            </a:r>
            <a:r>
              <a:rPr lang="fr-FR" sz="1800" dirty="0" smtClean="0">
                <a:solidFill>
                  <a:schemeClr val="accent1"/>
                </a:solidFill>
              </a:rPr>
              <a:t>es résultats</a:t>
            </a:r>
            <a:endParaRPr lang="fr-FR" sz="1200" dirty="0">
              <a:solidFill>
                <a:schemeClr val="accent1"/>
              </a:solidFill>
            </a:endParaRPr>
          </a:p>
        </p:txBody>
      </p:sp>
      <p:sp>
        <p:nvSpPr>
          <p:cNvPr id="23" name="Rectangle à coins arrondis 22"/>
          <p:cNvSpPr/>
          <p:nvPr/>
        </p:nvSpPr>
        <p:spPr>
          <a:xfrm>
            <a:off x="542428" y="1298081"/>
            <a:ext cx="3765177" cy="337277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>
                <a:solidFill>
                  <a:schemeClr val="accent1"/>
                </a:solidFill>
              </a:rPr>
              <a:t>Accueil et tour de tabl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7547019" y="334850"/>
            <a:ext cx="1493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OGO ARS</a:t>
            </a:r>
            <a:endParaRPr lang="fr-FR" dirty="0"/>
          </a:p>
        </p:txBody>
      </p:sp>
      <p:sp>
        <p:nvSpPr>
          <p:cNvPr id="9" name="Rectangle à coins arrondis 8"/>
          <p:cNvSpPr/>
          <p:nvPr/>
        </p:nvSpPr>
        <p:spPr>
          <a:xfrm>
            <a:off x="475884" y="4768876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La mise en œuvre de la Feuille de route</a:t>
            </a:r>
            <a:endParaRPr lang="fr-FR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603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Ordre du jour</a:t>
            </a:r>
            <a:endParaRPr lang="fr-FR" dirty="0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3059868" y="1909481"/>
            <a:ext cx="5688105" cy="48261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7800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600" b="1" i="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1pPr>
            <a:lvl2pPr marL="541338" indent="-185738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tabLst>
                <a:tab pos="541338" algn="l"/>
              </a:tabLst>
              <a:defRPr sz="1400" kern="120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2pPr>
            <a:lvl3pPr marL="715963" indent="-174625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3pPr>
            <a:lvl4pPr marL="8969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 smtClean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4pPr>
            <a:lvl5pPr marL="1074738" indent="-177800" algn="l" defTabSz="457200" rtl="0" eaLnBrk="1" latinLnBrk="0" hangingPunct="1">
              <a:spcBef>
                <a:spcPct val="20000"/>
              </a:spcBef>
              <a:buSzPct val="100000"/>
              <a:buFont typeface="Arial"/>
              <a:buChar char="•"/>
              <a:defRPr lang="fr-FR" sz="1400" kern="1200" dirty="0">
                <a:solidFill>
                  <a:srgbClr val="02375E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marche et calendrier</a:t>
            </a: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Méthode de tr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Déroulement des travaux</a:t>
            </a: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s grandes orientations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Le plan d’action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Tableau de synthèse des coûts et budgets mobilisés</a:t>
            </a: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Calendrier et modalités de suivi</a:t>
            </a:r>
          </a:p>
          <a:p>
            <a:pPr fontAlgn="auto">
              <a:spcAft>
                <a:spcPts val="0"/>
              </a:spcAft>
            </a:pPr>
            <a:r>
              <a:rPr lang="fr-FR" dirty="0" smtClean="0">
                <a:solidFill>
                  <a:schemeClr val="accent1"/>
                </a:solidFill>
              </a:rPr>
              <a:t>Engagement </a:t>
            </a:r>
          </a:p>
          <a:p>
            <a:pPr fontAlgn="auto">
              <a:spcAft>
                <a:spcPts val="0"/>
              </a:spcAft>
            </a:pPr>
            <a:endParaRPr lang="fr-FR" dirty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</a:pPr>
            <a:endParaRPr lang="fr-FR" dirty="0" smtClean="0">
              <a:solidFill>
                <a:schemeClr val="accent1"/>
              </a:solidFill>
            </a:endParaRPr>
          </a:p>
        </p:txBody>
      </p:sp>
      <p:sp>
        <p:nvSpPr>
          <p:cNvPr id="6" name="Rectangle à coins arrondis 5"/>
          <p:cNvSpPr/>
          <p:nvPr/>
        </p:nvSpPr>
        <p:spPr>
          <a:xfrm>
            <a:off x="555305" y="1926368"/>
            <a:ext cx="2474259" cy="866639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Feuille de route :</a:t>
            </a:r>
            <a:endParaRPr lang="fr-FR" sz="1800" dirty="0">
              <a:solidFill>
                <a:schemeClr val="accent1"/>
              </a:solidFill>
            </a:endParaRP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e processus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529547" y="3238437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Feuille de route :</a:t>
            </a:r>
          </a:p>
          <a:p>
            <a:pPr algn="ctr"/>
            <a:r>
              <a:rPr lang="fr-FR" sz="1800" dirty="0">
                <a:solidFill>
                  <a:schemeClr val="accent1"/>
                </a:solidFill>
              </a:rPr>
              <a:t>l</a:t>
            </a:r>
            <a:r>
              <a:rPr lang="fr-FR" sz="1800" dirty="0" smtClean="0">
                <a:solidFill>
                  <a:schemeClr val="accent1"/>
                </a:solidFill>
              </a:rPr>
              <a:t>es résultats</a:t>
            </a:r>
            <a:endParaRPr lang="fr-FR" sz="1200" dirty="0">
              <a:solidFill>
                <a:schemeClr val="accent1"/>
              </a:solidFill>
            </a:endParaRPr>
          </a:p>
        </p:txBody>
      </p:sp>
      <p:sp>
        <p:nvSpPr>
          <p:cNvPr id="23" name="Rectangle à coins arrondis 22"/>
          <p:cNvSpPr/>
          <p:nvPr/>
        </p:nvSpPr>
        <p:spPr>
          <a:xfrm>
            <a:off x="542428" y="1298081"/>
            <a:ext cx="3765177" cy="33727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600" dirty="0">
                <a:solidFill>
                  <a:schemeClr val="accent1"/>
                </a:solidFill>
              </a:rPr>
              <a:t>Accueil et tour de table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7547019" y="334850"/>
            <a:ext cx="14939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/>
              <a:t>LOGO ARS</a:t>
            </a:r>
            <a:endParaRPr lang="fr-FR" dirty="0"/>
          </a:p>
        </p:txBody>
      </p:sp>
      <p:sp>
        <p:nvSpPr>
          <p:cNvPr id="9" name="Rectangle à coins arrondis 8"/>
          <p:cNvSpPr/>
          <p:nvPr/>
        </p:nvSpPr>
        <p:spPr>
          <a:xfrm>
            <a:off x="566036" y="4472663"/>
            <a:ext cx="2474259" cy="86663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800" dirty="0" smtClean="0">
                <a:solidFill>
                  <a:schemeClr val="accent1"/>
                </a:solidFill>
              </a:rPr>
              <a:t>La mise en œuvre de la Feuille de route</a:t>
            </a:r>
            <a:endParaRPr lang="fr-FR" sz="1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139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0972" y="856330"/>
            <a:ext cx="8730000" cy="447660"/>
          </a:xfrm>
        </p:spPr>
        <p:txBody>
          <a:bodyPr>
            <a:noAutofit/>
          </a:bodyPr>
          <a:lstStyle/>
          <a:p>
            <a:r>
              <a:rPr lang="fr-FR" dirty="0" smtClean="0"/>
              <a:t>Mettre en œuvre un projet de parcours en psychiatrie et santé mentale</a:t>
            </a:r>
            <a:endParaRPr lang="fr-FR" dirty="0"/>
          </a:p>
        </p:txBody>
      </p:sp>
      <p:sp>
        <p:nvSpPr>
          <p:cNvPr id="11" name="ZoneTexte 8"/>
          <p:cNvSpPr txBox="1"/>
          <p:nvPr/>
        </p:nvSpPr>
        <p:spPr>
          <a:xfrm>
            <a:off x="144759" y="3529197"/>
            <a:ext cx="1921015" cy="2246769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buFont typeface="+mj-lt"/>
              <a:buAutoNum type="arabicPeriod"/>
            </a:pPr>
            <a:r>
              <a:rPr lang="fr-FR" sz="1400" dirty="0">
                <a:solidFill>
                  <a:schemeClr val="accent6">
                    <a:lumMod val="75000"/>
                  </a:schemeClr>
                </a:solidFill>
              </a:rPr>
              <a:t>Installation de la gouvernance de la démarche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400" dirty="0">
                <a:solidFill>
                  <a:schemeClr val="accent6">
                    <a:lumMod val="75000"/>
                  </a:schemeClr>
                </a:solidFill>
              </a:rPr>
              <a:t>Choix du territoire d’action</a:t>
            </a:r>
          </a:p>
          <a:p>
            <a:pPr marL="0" lvl="1"/>
            <a:r>
              <a:rPr lang="fr-FR" sz="1400" dirty="0">
                <a:solidFill>
                  <a:srgbClr val="F18E00"/>
                </a:solidFill>
              </a:rPr>
              <a:t>3. Cartographie du territoire</a:t>
            </a:r>
          </a:p>
          <a:p>
            <a:pPr marL="0" lvl="1"/>
            <a:r>
              <a:rPr lang="fr-FR" sz="1400" dirty="0">
                <a:solidFill>
                  <a:srgbClr val="02375E"/>
                </a:solidFill>
              </a:rPr>
              <a:t>4.  </a:t>
            </a:r>
            <a:r>
              <a:rPr lang="fr-FR" sz="1400" dirty="0">
                <a:solidFill>
                  <a:schemeClr val="accent6">
                    <a:lumMod val="75000"/>
                  </a:schemeClr>
                </a:solidFill>
              </a:rPr>
              <a:t>Lancement de la démarche </a:t>
            </a:r>
          </a:p>
          <a:p>
            <a:pPr marL="0" lvl="1"/>
            <a:endParaRPr lang="fr-FR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2" name="ZoneTexte 9"/>
          <p:cNvSpPr txBox="1"/>
          <p:nvPr/>
        </p:nvSpPr>
        <p:spPr>
          <a:xfrm>
            <a:off x="1982725" y="5053891"/>
            <a:ext cx="529954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0" lvl="1"/>
            <a:r>
              <a:rPr lang="fr-FR" sz="1400" dirty="0" smtClean="0"/>
              <a:t>Groupes de travail : </a:t>
            </a:r>
          </a:p>
          <a:p>
            <a:pPr marL="6350" lvl="1"/>
            <a:r>
              <a:rPr lang="fr-FR" sz="1400" dirty="0" smtClean="0"/>
              <a:t>Description et analyse </a:t>
            </a:r>
            <a:r>
              <a:rPr lang="fr-FR" sz="1400" dirty="0" smtClean="0">
                <a:solidFill>
                  <a:srgbClr val="EE8028"/>
                </a:solidFill>
              </a:rPr>
              <a:t>de 5 « portes d’entrée » </a:t>
            </a:r>
            <a:r>
              <a:rPr lang="fr-FR" sz="1400" dirty="0" smtClean="0"/>
              <a:t>sur les parcours des territoires considérés (cf. diapo « rosace »)</a:t>
            </a:r>
          </a:p>
          <a:p>
            <a:pPr marL="185738" lvl="1" indent="-179388">
              <a:buFont typeface="+mj-lt"/>
              <a:buAutoNum type="arabicPeriod"/>
            </a:pPr>
            <a:r>
              <a:rPr lang="fr-FR" sz="1400" dirty="0" smtClean="0"/>
              <a:t>Identification des points de difficulté opérationnels sur chacune de ces portes d’entrée et </a:t>
            </a:r>
            <a:r>
              <a:rPr lang="fr-FR" sz="1400" dirty="0" smtClean="0">
                <a:solidFill>
                  <a:srgbClr val="EE8028"/>
                </a:solidFill>
              </a:rPr>
              <a:t>analyse causale</a:t>
            </a:r>
          </a:p>
          <a:p>
            <a:pPr marL="185738" lvl="1" indent="-179388">
              <a:buFont typeface="+mj-lt"/>
              <a:buAutoNum type="arabicPeriod"/>
            </a:pPr>
            <a:r>
              <a:rPr lang="fr-FR" sz="1400" dirty="0" smtClean="0"/>
              <a:t>Formalisation d’un </a:t>
            </a:r>
            <a:r>
              <a:rPr lang="fr-FR" sz="1400" dirty="0" smtClean="0">
                <a:solidFill>
                  <a:srgbClr val="EE8028"/>
                </a:solidFill>
              </a:rPr>
              <a:t>diagnostic et de pistes d’actions partagés</a:t>
            </a:r>
            <a:endParaRPr lang="fr-FR" sz="1400" dirty="0" smtClean="0"/>
          </a:p>
        </p:txBody>
      </p:sp>
      <p:cxnSp>
        <p:nvCxnSpPr>
          <p:cNvPr id="15" name="Forme 16"/>
          <p:cNvCxnSpPr>
            <a:endCxn id="16" idx="1"/>
          </p:cNvCxnSpPr>
          <p:nvPr/>
        </p:nvCxnSpPr>
        <p:spPr>
          <a:xfrm rot="16200000" flipH="1">
            <a:off x="4309361" y="3456585"/>
            <a:ext cx="1303036" cy="408322"/>
          </a:xfrm>
          <a:prstGeom prst="bentConnector2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6" name="ZoneTexte 18"/>
          <p:cNvSpPr txBox="1"/>
          <p:nvPr/>
        </p:nvSpPr>
        <p:spPr>
          <a:xfrm>
            <a:off x="5165040" y="3727488"/>
            <a:ext cx="3845932" cy="1169551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buFont typeface="+mj-lt"/>
              <a:buAutoNum type="arabicPeriod"/>
            </a:pPr>
            <a:r>
              <a:rPr lang="fr-FR" sz="1400" dirty="0" smtClean="0"/>
              <a:t>Méthode de priorisation des pistes d’actions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400" dirty="0" smtClean="0">
                <a:solidFill>
                  <a:schemeClr val="accent5"/>
                </a:solidFill>
              </a:rPr>
              <a:t>Construction et validation de la feuille de  route et du plan d’action</a:t>
            </a:r>
          </a:p>
          <a:p>
            <a:pPr marL="228600" indent="-228600">
              <a:buFont typeface="+mj-lt"/>
              <a:buAutoNum type="arabicPeriod"/>
            </a:pPr>
            <a:r>
              <a:rPr lang="fr-FR" sz="1400" dirty="0" smtClean="0">
                <a:solidFill>
                  <a:schemeClr val="accent5"/>
                </a:solidFill>
              </a:rPr>
              <a:t>Signature du contrat territorial de santé mentale</a:t>
            </a:r>
          </a:p>
        </p:txBody>
      </p:sp>
      <p:cxnSp>
        <p:nvCxnSpPr>
          <p:cNvPr id="18" name="Connecteur droit 17"/>
          <p:cNvCxnSpPr>
            <a:stCxn id="28" idx="2"/>
          </p:cNvCxnSpPr>
          <p:nvPr/>
        </p:nvCxnSpPr>
        <p:spPr>
          <a:xfrm flipH="1">
            <a:off x="3207404" y="2980817"/>
            <a:ext cx="307444" cy="1944285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7" name="Signalisation droite 2"/>
          <p:cNvSpPr/>
          <p:nvPr/>
        </p:nvSpPr>
        <p:spPr>
          <a:xfrm>
            <a:off x="786600" y="1900817"/>
            <a:ext cx="929308" cy="1080000"/>
          </a:xfrm>
          <a:prstGeom prst="homePlate">
            <a:avLst>
              <a:gd name="adj" fmla="val 20270"/>
            </a:avLst>
          </a:prstGeom>
          <a:solidFill>
            <a:schemeClr val="bg1"/>
          </a:solidFill>
          <a:ln w="38100" cap="flat" cmpd="sng" algn="ctr">
            <a:solidFill>
              <a:srgbClr val="02375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baseline="-25000" dirty="0" smtClean="0">
                <a:solidFill>
                  <a:srgbClr val="02375E"/>
                </a:solidFill>
              </a:rPr>
              <a:t>Cadrage</a:t>
            </a:r>
            <a:endParaRPr lang="fr-FR" sz="1600" baseline="-25000" dirty="0">
              <a:solidFill>
                <a:srgbClr val="02375E"/>
              </a:solidFill>
            </a:endParaRPr>
          </a:p>
        </p:txBody>
      </p:sp>
      <p:sp>
        <p:nvSpPr>
          <p:cNvPr id="28" name="Chevron 27"/>
          <p:cNvSpPr/>
          <p:nvPr/>
        </p:nvSpPr>
        <p:spPr>
          <a:xfrm>
            <a:off x="2726526" y="1900817"/>
            <a:ext cx="1752673" cy="1080000"/>
          </a:xfrm>
          <a:prstGeom prst="chevron">
            <a:avLst>
              <a:gd name="adj" fmla="val 16299"/>
            </a:avLst>
          </a:prstGeom>
          <a:solidFill>
            <a:schemeClr val="bg1"/>
          </a:solidFill>
          <a:ln w="38100" cap="flat" cmpd="sng" algn="ctr">
            <a:solidFill>
              <a:srgbClr val="02375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2. </a:t>
            </a:r>
          </a:p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Diagnostic</a:t>
            </a:r>
            <a:endParaRPr lang="fr-FR" sz="1600" dirty="0">
              <a:solidFill>
                <a:srgbClr val="02375E"/>
              </a:solidFill>
            </a:endParaRPr>
          </a:p>
        </p:txBody>
      </p:sp>
      <p:sp>
        <p:nvSpPr>
          <p:cNvPr id="29" name="Chevron 28"/>
          <p:cNvSpPr/>
          <p:nvPr/>
        </p:nvSpPr>
        <p:spPr>
          <a:xfrm>
            <a:off x="5834665" y="1900817"/>
            <a:ext cx="1863437" cy="1080000"/>
          </a:xfrm>
          <a:prstGeom prst="chevron">
            <a:avLst>
              <a:gd name="adj" fmla="val 16299"/>
            </a:avLst>
          </a:prstGeom>
          <a:solidFill>
            <a:schemeClr val="bg1"/>
          </a:solidFill>
          <a:ln w="38100" cap="flat" cmpd="sng" algn="ctr">
            <a:solidFill>
              <a:srgbClr val="02375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4. </a:t>
            </a:r>
          </a:p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Mise en œuvre de la feuille de route</a:t>
            </a:r>
            <a:endParaRPr lang="fr-FR" sz="1600" dirty="0">
              <a:solidFill>
                <a:srgbClr val="02375E"/>
              </a:solidFill>
            </a:endParaRPr>
          </a:p>
        </p:txBody>
      </p:sp>
      <p:sp>
        <p:nvSpPr>
          <p:cNvPr id="30" name="Chevron 29"/>
          <p:cNvSpPr/>
          <p:nvPr/>
        </p:nvSpPr>
        <p:spPr>
          <a:xfrm>
            <a:off x="7586030" y="1900817"/>
            <a:ext cx="1424942" cy="1080000"/>
          </a:xfrm>
          <a:prstGeom prst="chevron">
            <a:avLst>
              <a:gd name="adj" fmla="val 16299"/>
            </a:avLst>
          </a:prstGeom>
          <a:solidFill>
            <a:schemeClr val="bg1"/>
          </a:solidFill>
          <a:ln w="38100" cap="flat" cmpd="sng" algn="ctr">
            <a:solidFill>
              <a:srgbClr val="02375E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 smtClean="0">
                <a:solidFill>
                  <a:srgbClr val="02375E"/>
                </a:solidFill>
              </a:rPr>
              <a:t>Essaimage régional</a:t>
            </a:r>
            <a:endParaRPr lang="fr-FR" sz="1600" dirty="0">
              <a:solidFill>
                <a:srgbClr val="02375E"/>
              </a:solidFill>
            </a:endParaRPr>
          </a:p>
        </p:txBody>
      </p:sp>
      <p:sp>
        <p:nvSpPr>
          <p:cNvPr id="31" name="Chevron 30"/>
          <p:cNvSpPr/>
          <p:nvPr/>
        </p:nvSpPr>
        <p:spPr>
          <a:xfrm>
            <a:off x="4394505" y="1900817"/>
            <a:ext cx="1512168" cy="1080000"/>
          </a:xfrm>
          <a:prstGeom prst="chevron">
            <a:avLst>
              <a:gd name="adj" fmla="val 16299"/>
            </a:avLst>
          </a:prstGeom>
          <a:solidFill>
            <a:schemeClr val="accent5">
              <a:lumMod val="20000"/>
              <a:lumOff val="80000"/>
            </a:schemeClr>
          </a:solidFill>
          <a:ln w="38100" cap="flat" cmpd="sng" algn="ctr">
            <a:solidFill>
              <a:schemeClr val="tx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dirty="0" smtClean="0">
                <a:solidFill>
                  <a:schemeClr val="tx2">
                    <a:lumMod val="75000"/>
                  </a:schemeClr>
                </a:solidFill>
              </a:rPr>
              <a:t>3. </a:t>
            </a:r>
          </a:p>
          <a:p>
            <a:pPr algn="ctr"/>
            <a:r>
              <a:rPr lang="fr-FR" sz="1600" dirty="0" smtClean="0">
                <a:solidFill>
                  <a:schemeClr val="tx2">
                    <a:lumMod val="75000"/>
                  </a:schemeClr>
                </a:solidFill>
              </a:rPr>
              <a:t>Elaboration Feuille de route</a:t>
            </a:r>
            <a:endParaRPr lang="fr-FR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2" name="Chevron 31"/>
          <p:cNvSpPr/>
          <p:nvPr/>
        </p:nvSpPr>
        <p:spPr>
          <a:xfrm>
            <a:off x="1634227" y="1900816"/>
            <a:ext cx="1191326" cy="1080000"/>
          </a:xfrm>
          <a:prstGeom prst="chevron">
            <a:avLst>
              <a:gd name="adj" fmla="val 16299"/>
            </a:avLst>
          </a:prstGeom>
          <a:solidFill>
            <a:schemeClr val="bg1"/>
          </a:solidFill>
          <a:ln w="38100" cap="flat" cmpd="sng" algn="ctr">
            <a:solidFill>
              <a:srgbClr val="02375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600" baseline="-25000" dirty="0" smtClean="0">
                <a:solidFill>
                  <a:srgbClr val="02375E"/>
                </a:solidFill>
              </a:rPr>
              <a:t>1. Lancement</a:t>
            </a:r>
            <a:endParaRPr lang="fr-FR" sz="1600" baseline="-25000" dirty="0">
              <a:solidFill>
                <a:srgbClr val="02375E"/>
              </a:solidFill>
            </a:endParaRPr>
          </a:p>
        </p:txBody>
      </p:sp>
      <p:cxnSp>
        <p:nvCxnSpPr>
          <p:cNvPr id="33" name="Connecteur droit 32"/>
          <p:cNvCxnSpPr>
            <a:stCxn id="27" idx="2"/>
          </p:cNvCxnSpPr>
          <p:nvPr/>
        </p:nvCxnSpPr>
        <p:spPr>
          <a:xfrm flipH="1">
            <a:off x="1082137" y="2980817"/>
            <a:ext cx="74932" cy="521801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0" name="Ellipse 39"/>
          <p:cNvSpPr/>
          <p:nvPr/>
        </p:nvSpPr>
        <p:spPr>
          <a:xfrm>
            <a:off x="2870696" y="3033512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ZoneTexte 40"/>
          <p:cNvSpPr txBox="1"/>
          <p:nvPr/>
        </p:nvSpPr>
        <p:spPr>
          <a:xfrm>
            <a:off x="2790979" y="3253893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/>
          </a:p>
        </p:txBody>
      </p:sp>
      <p:sp>
        <p:nvSpPr>
          <p:cNvPr id="42" name="Ellipse 41"/>
          <p:cNvSpPr/>
          <p:nvPr/>
        </p:nvSpPr>
        <p:spPr>
          <a:xfrm>
            <a:off x="4392560" y="3033696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ZoneTexte 42"/>
          <p:cNvSpPr txBox="1"/>
          <p:nvPr/>
        </p:nvSpPr>
        <p:spPr>
          <a:xfrm>
            <a:off x="4312843" y="3254077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  <p:sp>
        <p:nvSpPr>
          <p:cNvPr id="44" name="Ellipse 43"/>
          <p:cNvSpPr/>
          <p:nvPr/>
        </p:nvSpPr>
        <p:spPr>
          <a:xfrm>
            <a:off x="4979395" y="3038002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" name="ZoneTexte 44"/>
          <p:cNvSpPr txBox="1"/>
          <p:nvPr/>
        </p:nvSpPr>
        <p:spPr>
          <a:xfrm>
            <a:off x="4899678" y="3258383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  <p:sp>
        <p:nvSpPr>
          <p:cNvPr id="46" name="Ellipse 45"/>
          <p:cNvSpPr/>
          <p:nvPr/>
        </p:nvSpPr>
        <p:spPr>
          <a:xfrm>
            <a:off x="5455364" y="3033512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ZoneTexte 46"/>
          <p:cNvSpPr txBox="1"/>
          <p:nvPr/>
        </p:nvSpPr>
        <p:spPr>
          <a:xfrm>
            <a:off x="5375647" y="3253893"/>
            <a:ext cx="524503" cy="24622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  <p:sp>
        <p:nvSpPr>
          <p:cNvPr id="48" name="Ellipse 47"/>
          <p:cNvSpPr/>
          <p:nvPr/>
        </p:nvSpPr>
        <p:spPr>
          <a:xfrm>
            <a:off x="6253399" y="3028952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Ellipse 48"/>
          <p:cNvSpPr/>
          <p:nvPr/>
        </p:nvSpPr>
        <p:spPr>
          <a:xfrm>
            <a:off x="6912614" y="3039302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Ellipse 49"/>
          <p:cNvSpPr/>
          <p:nvPr/>
        </p:nvSpPr>
        <p:spPr>
          <a:xfrm>
            <a:off x="7437306" y="3039302"/>
            <a:ext cx="242887" cy="22403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ZoneTexte 51"/>
          <p:cNvSpPr txBox="1"/>
          <p:nvPr/>
        </p:nvSpPr>
        <p:spPr>
          <a:xfrm>
            <a:off x="1837175" y="3021573"/>
            <a:ext cx="65434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COPIL :</a:t>
            </a:r>
            <a:endParaRPr lang="fr-FR" dirty="0"/>
          </a:p>
        </p:txBody>
      </p:sp>
      <p:sp>
        <p:nvSpPr>
          <p:cNvPr id="53" name="ZoneTexte 52"/>
          <p:cNvSpPr txBox="1"/>
          <p:nvPr/>
        </p:nvSpPr>
        <p:spPr>
          <a:xfrm>
            <a:off x="1843488" y="3294688"/>
            <a:ext cx="7585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Plénière :</a:t>
            </a:r>
            <a:endParaRPr lang="fr-FR" dirty="0"/>
          </a:p>
        </p:txBody>
      </p:sp>
      <p:sp>
        <p:nvSpPr>
          <p:cNvPr id="54" name="Ellipse 53"/>
          <p:cNvSpPr/>
          <p:nvPr/>
        </p:nvSpPr>
        <p:spPr>
          <a:xfrm>
            <a:off x="5715569" y="3306627"/>
            <a:ext cx="242887" cy="224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ZoneTexte 54"/>
          <p:cNvSpPr txBox="1"/>
          <p:nvPr/>
        </p:nvSpPr>
        <p:spPr>
          <a:xfrm>
            <a:off x="5635852" y="3527008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  <p:sp>
        <p:nvSpPr>
          <p:cNvPr id="56" name="Ellipse 55"/>
          <p:cNvSpPr/>
          <p:nvPr/>
        </p:nvSpPr>
        <p:spPr>
          <a:xfrm>
            <a:off x="2568512" y="3307042"/>
            <a:ext cx="242887" cy="224039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7" name="ZoneTexte 56"/>
          <p:cNvSpPr txBox="1"/>
          <p:nvPr/>
        </p:nvSpPr>
        <p:spPr>
          <a:xfrm>
            <a:off x="2488795" y="3527423"/>
            <a:ext cx="52450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err="1" smtClean="0"/>
              <a:t>Xx:xx</a:t>
            </a:r>
            <a:endParaRPr lang="fr-FR" dirty="0" smtClean="0"/>
          </a:p>
        </p:txBody>
      </p:sp>
      <p:sp>
        <p:nvSpPr>
          <p:cNvPr id="58" name="ZoneTexte 57"/>
          <p:cNvSpPr txBox="1"/>
          <p:nvPr/>
        </p:nvSpPr>
        <p:spPr>
          <a:xfrm>
            <a:off x="6107300" y="3284957"/>
            <a:ext cx="524503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dirty="0" err="1"/>
              <a:t>Xx:xx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52742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319608" y="451437"/>
            <a:ext cx="8730000" cy="720539"/>
          </a:xfrm>
        </p:spPr>
        <p:txBody>
          <a:bodyPr/>
          <a:lstStyle/>
          <a:p>
            <a:r>
              <a:rPr lang="fr-FR" dirty="0" smtClean="0"/>
              <a:t>La construction de la feuille de route est un processus</a:t>
            </a:r>
            <a:br>
              <a:rPr lang="fr-FR" dirty="0" smtClean="0"/>
            </a:br>
            <a:r>
              <a:rPr lang="fr-FR" dirty="0" smtClean="0"/>
              <a:t>en plusieurs étape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>
          <a:xfrm>
            <a:off x="280972" y="1156676"/>
            <a:ext cx="8730000" cy="5591854"/>
          </a:xfrm>
        </p:spPr>
        <p:txBody>
          <a:bodyPr/>
          <a:lstStyle/>
          <a:p>
            <a:r>
              <a:rPr lang="fr-FR" dirty="0" smtClean="0"/>
              <a:t>1/ Contexte et stratégie</a:t>
            </a:r>
          </a:p>
          <a:p>
            <a:pPr lvl="1"/>
            <a:r>
              <a:rPr lang="fr-FR" dirty="0" smtClean="0"/>
              <a:t>Rappel des constats issus du diagnostic </a:t>
            </a:r>
          </a:p>
          <a:p>
            <a:pPr lvl="1"/>
            <a:r>
              <a:rPr lang="fr-FR" dirty="0" smtClean="0"/>
              <a:t>Rappel des orientations stratégiques</a:t>
            </a:r>
          </a:p>
          <a:p>
            <a:pPr lvl="1"/>
            <a:r>
              <a:rPr lang="fr-FR" dirty="0" smtClean="0"/>
              <a:t>Les objectifs cibles </a:t>
            </a:r>
          </a:p>
          <a:p>
            <a:pPr lvl="1"/>
            <a:endParaRPr lang="fr-FR" dirty="0" smtClean="0"/>
          </a:p>
          <a:p>
            <a:r>
              <a:rPr lang="fr-FR" dirty="0"/>
              <a:t>2</a:t>
            </a:r>
            <a:r>
              <a:rPr lang="fr-FR" dirty="0" smtClean="0"/>
              <a:t>/ Elaboration du plan d’action</a:t>
            </a:r>
          </a:p>
          <a:p>
            <a:pPr lvl="1"/>
            <a:r>
              <a:rPr lang="fr-FR" dirty="0"/>
              <a:t>Les choix </a:t>
            </a:r>
            <a:r>
              <a:rPr lang="fr-FR" dirty="0" smtClean="0"/>
              <a:t>opérés (processus et critères)</a:t>
            </a:r>
            <a:endParaRPr lang="fr-FR" dirty="0"/>
          </a:p>
          <a:p>
            <a:pPr lvl="1"/>
            <a:r>
              <a:rPr lang="fr-FR" dirty="0" smtClean="0"/>
              <a:t>Un tableau récapitulatif des actions :</a:t>
            </a:r>
          </a:p>
          <a:p>
            <a:pPr lvl="2"/>
            <a:r>
              <a:rPr lang="fr-FR" dirty="0" smtClean="0"/>
              <a:t>Intitulé de l’action</a:t>
            </a:r>
          </a:p>
          <a:p>
            <a:pPr lvl="2"/>
            <a:r>
              <a:rPr lang="fr-FR" dirty="0" smtClean="0"/>
              <a:t>Pilotes d’actions et contributeurs</a:t>
            </a:r>
          </a:p>
          <a:p>
            <a:pPr lvl="2"/>
            <a:r>
              <a:rPr lang="fr-FR" dirty="0" smtClean="0"/>
              <a:t>Moyens</a:t>
            </a:r>
          </a:p>
          <a:p>
            <a:pPr lvl="2"/>
            <a:r>
              <a:rPr lang="fr-FR" dirty="0" smtClean="0"/>
              <a:t>Délais et niveau de priorité</a:t>
            </a:r>
          </a:p>
          <a:p>
            <a:pPr lvl="1"/>
            <a:r>
              <a:rPr lang="fr-FR" dirty="0" smtClean="0"/>
              <a:t>Un récapitulatif des coûts et financements</a:t>
            </a:r>
          </a:p>
          <a:p>
            <a:pPr lvl="1"/>
            <a:endParaRPr lang="fr-FR" dirty="0" smtClean="0"/>
          </a:p>
          <a:p>
            <a:r>
              <a:rPr lang="fr-FR" dirty="0"/>
              <a:t>3</a:t>
            </a:r>
            <a:r>
              <a:rPr lang="fr-FR" dirty="0" smtClean="0"/>
              <a:t>/ La gouvernance du suivi de la mise en </a:t>
            </a:r>
            <a:r>
              <a:rPr lang="fr-FR" dirty="0" err="1" smtClean="0"/>
              <a:t>oeuvre</a:t>
            </a:r>
            <a:endParaRPr lang="fr-FR" dirty="0" smtClean="0"/>
          </a:p>
          <a:p>
            <a:pPr lvl="1"/>
            <a:r>
              <a:rPr lang="fr-FR" dirty="0" smtClean="0"/>
              <a:t>Instance stratégique (Comité de pilotage territorial) : composition et missions </a:t>
            </a:r>
          </a:p>
          <a:p>
            <a:pPr lvl="1"/>
            <a:r>
              <a:rPr lang="fr-FR" dirty="0" smtClean="0"/>
              <a:t>Instance opérationnelle (Equipe projet) : composition et missions</a:t>
            </a:r>
          </a:p>
          <a:p>
            <a:pPr lvl="1"/>
            <a:r>
              <a:rPr lang="fr-FR" dirty="0" smtClean="0"/>
              <a:t>Les modalités de communication, suivi et évaluation de la feuille de route</a:t>
            </a:r>
          </a:p>
          <a:p>
            <a:pPr lvl="1"/>
            <a:r>
              <a:rPr lang="fr-FR" dirty="0" smtClean="0"/>
              <a:t>Engagement des acteurs</a:t>
            </a:r>
          </a:p>
          <a:p>
            <a:endParaRPr lang="fr-FR" dirty="0"/>
          </a:p>
          <a:p>
            <a:r>
              <a:rPr lang="fr-FR" dirty="0" smtClean="0"/>
              <a:t>ANNEXE : fiches-actions</a:t>
            </a:r>
          </a:p>
          <a:p>
            <a:endParaRPr lang="fr-FR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6021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7224" y="228600"/>
            <a:ext cx="6705600" cy="817880"/>
          </a:xfrm>
        </p:spPr>
        <p:txBody>
          <a:bodyPr>
            <a:normAutofit/>
          </a:bodyPr>
          <a:lstStyle/>
          <a:p>
            <a:r>
              <a:rPr lang="fr-FR" sz="1600" dirty="0" smtClean="0"/>
              <a:t>DES ACTIONS PAR PORTE* A DES ACTIONS PAR THEMATIQUE</a:t>
            </a:r>
            <a:endParaRPr lang="fr-FR" sz="1600" dirty="0"/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sz="quarter" idx="13"/>
            <p:extLst/>
          </p:nvPr>
        </p:nvGraphicFramePr>
        <p:xfrm>
          <a:off x="2209800" y="1447800"/>
          <a:ext cx="6705600" cy="48466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ZoneTexte 6"/>
          <p:cNvSpPr txBox="1"/>
          <p:nvPr/>
        </p:nvSpPr>
        <p:spPr>
          <a:xfrm>
            <a:off x="1798320" y="1818640"/>
            <a:ext cx="492443" cy="103632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fr-FR" dirty="0" smtClean="0"/>
              <a:t>Rosace portes entrée</a:t>
            </a:r>
            <a:endParaRPr lang="fr-FR" dirty="0"/>
          </a:p>
        </p:txBody>
      </p:sp>
      <p:sp>
        <p:nvSpPr>
          <p:cNvPr id="8" name="ZoneTexte 7"/>
          <p:cNvSpPr txBox="1"/>
          <p:nvPr/>
        </p:nvSpPr>
        <p:spPr>
          <a:xfrm>
            <a:off x="2407920" y="1033939"/>
            <a:ext cx="1476361" cy="24622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fr-FR" dirty="0" smtClean="0"/>
              <a:t>ETAPE N°2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140685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372" y="126763"/>
            <a:ext cx="7902332" cy="676426"/>
          </a:xfrm>
        </p:spPr>
        <p:txBody>
          <a:bodyPr>
            <a:normAutofit fontScale="90000"/>
          </a:bodyPr>
          <a:lstStyle/>
          <a:p>
            <a:pPr algn="ctr"/>
            <a:r>
              <a:rPr lang="fr-FR" dirty="0" smtClean="0"/>
              <a:t>Le passage du diagnostic à la feuille de route : </a:t>
            </a:r>
            <a:br>
              <a:rPr lang="fr-FR" dirty="0" smtClean="0"/>
            </a:br>
            <a:r>
              <a:rPr lang="fr-FR" dirty="0" smtClean="0"/>
              <a:t>des portes d’entrée aux grandes orientations </a:t>
            </a:r>
            <a:endParaRPr lang="fr-FR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sz="quarter" idx="4294967295"/>
            <p:extLst/>
          </p:nvPr>
        </p:nvGraphicFramePr>
        <p:xfrm>
          <a:off x="224057" y="770260"/>
          <a:ext cx="8729667" cy="59154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85134"/>
                <a:gridCol w="1180078"/>
                <a:gridCol w="1192891"/>
                <a:gridCol w="1192891"/>
                <a:gridCol w="1192891"/>
                <a:gridCol w="1192891"/>
                <a:gridCol w="1192891"/>
              </a:tblGrid>
              <a:tr h="784630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endParaRPr lang="fr-FR" sz="1200" kern="1200" dirty="0">
                        <a:solidFill>
                          <a:srgbClr val="02375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041" marR="119041" anchor="ctr"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dirty="0" smtClean="0">
                          <a:solidFill>
                            <a:srgbClr val="02375E"/>
                          </a:solidFill>
                          <a:latin typeface="+mn-lt"/>
                          <a:ea typeface="+mn-ea"/>
                          <a:cs typeface="+mn-cs"/>
                        </a:rPr>
                        <a:t>Accès diagnostic et soins psychiatriques</a:t>
                      </a:r>
                    </a:p>
                    <a:p>
                      <a:pPr marL="0" algn="ctr" defTabSz="457200" rtl="0" eaLnBrk="1" fontAlgn="b" latinLnBrk="0" hangingPunct="1"/>
                      <a:endParaRPr lang="fr-FR" sz="1200" b="1" kern="1200" dirty="0">
                        <a:solidFill>
                          <a:srgbClr val="02375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67" marR="8267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dirty="0" smtClean="0">
                          <a:solidFill>
                            <a:srgbClr val="02375E"/>
                          </a:solidFill>
                          <a:latin typeface="+mn-lt"/>
                          <a:ea typeface="+mn-ea"/>
                          <a:cs typeface="+mn-cs"/>
                        </a:rPr>
                        <a:t>Situations inadéquates</a:t>
                      </a:r>
                    </a:p>
                    <a:p>
                      <a:pPr marL="0" algn="ctr" defTabSz="457200" rtl="0" eaLnBrk="1" fontAlgn="b" latinLnBrk="0" hangingPunct="1"/>
                      <a:endParaRPr lang="fr-FR" sz="1200" b="1" kern="1200" dirty="0">
                        <a:solidFill>
                          <a:srgbClr val="02375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67" marR="8267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dirty="0" smtClean="0">
                          <a:solidFill>
                            <a:srgbClr val="02375E"/>
                          </a:solidFill>
                          <a:latin typeface="+mn-lt"/>
                          <a:ea typeface="+mn-ea"/>
                          <a:cs typeface="+mn-cs"/>
                        </a:rPr>
                        <a:t>Accès </a:t>
                      </a:r>
                      <a:r>
                        <a:rPr lang="fr-FR" sz="1200" b="1" kern="1200" dirty="0" err="1" smtClean="0">
                          <a:solidFill>
                            <a:srgbClr val="02375E"/>
                          </a:solidFill>
                          <a:latin typeface="+mn-lt"/>
                          <a:ea typeface="+mn-ea"/>
                          <a:cs typeface="+mn-cs"/>
                        </a:rPr>
                        <a:t>accomp</a:t>
                      </a:r>
                      <a:r>
                        <a:rPr lang="fr-FR" sz="1200" b="1" kern="1200" dirty="0" smtClean="0">
                          <a:solidFill>
                            <a:srgbClr val="02375E"/>
                          </a:solidFill>
                          <a:latin typeface="+mn-lt"/>
                          <a:ea typeface="+mn-ea"/>
                          <a:cs typeface="+mn-cs"/>
                        </a:rPr>
                        <a:t> sociaux et médico-sociaux</a:t>
                      </a:r>
                    </a:p>
                    <a:p>
                      <a:pPr marL="0" algn="ctr" defTabSz="457200" rtl="0" eaLnBrk="1" fontAlgn="b" latinLnBrk="0" hangingPunct="1"/>
                      <a:endParaRPr lang="fr-FR" sz="1200" b="1" kern="1200" dirty="0">
                        <a:solidFill>
                          <a:srgbClr val="02375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67" marR="8267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dirty="0" smtClean="0">
                          <a:solidFill>
                            <a:srgbClr val="02375E"/>
                          </a:solidFill>
                          <a:latin typeface="+mn-lt"/>
                          <a:ea typeface="+mn-ea"/>
                          <a:cs typeface="+mn-cs"/>
                        </a:rPr>
                        <a:t>Accès soins somatiques</a:t>
                      </a:r>
                    </a:p>
                    <a:p>
                      <a:pPr marL="0" algn="ctr" defTabSz="457200" rtl="0" eaLnBrk="1" fontAlgn="b" latinLnBrk="0" hangingPunct="1"/>
                      <a:endParaRPr lang="fr-FR" sz="1200" b="1" kern="1200" dirty="0">
                        <a:solidFill>
                          <a:srgbClr val="02375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67" marR="8267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200" b="1" kern="1200" dirty="0">
                          <a:solidFill>
                            <a:srgbClr val="02375E"/>
                          </a:solidFill>
                          <a:latin typeface="+mn-lt"/>
                          <a:ea typeface="+mn-ea"/>
                          <a:cs typeface="+mn-cs"/>
                        </a:rPr>
                        <a:t>Prévention et gestion situation de crise</a:t>
                      </a:r>
                    </a:p>
                  </a:txBody>
                  <a:tcPr marL="8267" marR="8267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200" b="1" kern="1200" dirty="0" smtClean="0">
                          <a:solidFill>
                            <a:srgbClr val="02375E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8267" marR="8267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6529"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kern="1200" dirty="0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rientation 1</a:t>
                      </a:r>
                    </a:p>
                  </a:txBody>
                  <a:tcPr marL="8267" marR="8267" marT="6350" marB="0" anchor="ctr"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20082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rgbClr val="02375E"/>
                          </a:solidFill>
                        </a:rPr>
                        <a:t>Orientation</a:t>
                      </a:r>
                      <a:r>
                        <a:rPr lang="fr-FR" sz="1200" b="1" baseline="0" dirty="0" smtClean="0">
                          <a:solidFill>
                            <a:srgbClr val="02375E"/>
                          </a:solidFill>
                        </a:rPr>
                        <a:t> 2</a:t>
                      </a:r>
                      <a:endParaRPr lang="fr-FR" sz="1200" b="1" dirty="0" smtClean="0">
                        <a:solidFill>
                          <a:srgbClr val="02375E"/>
                        </a:solidFill>
                      </a:endParaRPr>
                    </a:p>
                    <a:p>
                      <a:pPr marL="0" algn="ctr" defTabSz="457200" rtl="0" eaLnBrk="1" fontAlgn="b" latinLnBrk="0" hangingPunct="1"/>
                      <a:endParaRPr lang="fr-FR" sz="1200" b="1" kern="1200" dirty="0">
                        <a:solidFill>
                          <a:srgbClr val="02375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67" marR="8267" marT="6350" marB="0" anchor="ctr"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20082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rgbClr val="02375E"/>
                          </a:solidFill>
                        </a:rPr>
                        <a:t>Orientation 3</a:t>
                      </a:r>
                    </a:p>
                  </a:txBody>
                  <a:tcPr marL="8267" marR="8267" marT="6350" marB="0" anchor="ctr"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51046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Orientation 4</a:t>
                      </a:r>
                      <a:endParaRPr lang="fr-FR" sz="12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267" marR="8267" marT="6350" marB="0" anchor="ctr"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6547"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Orientation 5</a:t>
                      </a:r>
                      <a:endParaRPr lang="fr-FR" sz="12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8267" marR="8267" marT="6350" marB="0" anchor="ctr"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6547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fr-FR" sz="1200" b="1" kern="1200" dirty="0" smtClean="0">
                          <a:solidFill>
                            <a:srgbClr val="02375E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200" b="1" kern="1200" dirty="0">
                        <a:solidFill>
                          <a:srgbClr val="02375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267" marR="8267" marT="6350" marB="0" anchor="ctr"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C1AF8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cxnSp>
        <p:nvCxnSpPr>
          <p:cNvPr id="6" name="Connecteur droit 5"/>
          <p:cNvCxnSpPr/>
          <p:nvPr/>
        </p:nvCxnSpPr>
        <p:spPr>
          <a:xfrm>
            <a:off x="321336" y="770741"/>
            <a:ext cx="1485492" cy="74845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226794" y="1455313"/>
            <a:ext cx="1258700" cy="32510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/>
              <a:t>Grandes orientations</a:t>
            </a:r>
            <a:endParaRPr lang="fr-FR" sz="1200" dirty="0"/>
          </a:p>
        </p:txBody>
      </p:sp>
      <p:sp>
        <p:nvSpPr>
          <p:cNvPr id="8" name="Rectangle 7"/>
          <p:cNvSpPr/>
          <p:nvPr/>
        </p:nvSpPr>
        <p:spPr>
          <a:xfrm>
            <a:off x="600999" y="721753"/>
            <a:ext cx="1202001" cy="515979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Portes d’entré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5449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Critères de sélection des actions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r-FR" smtClean="0"/>
              <a:t>Critères </a:t>
            </a:r>
          </a:p>
          <a:p>
            <a:pPr lvl="1"/>
            <a:r>
              <a:rPr lang="fr-FR" smtClean="0"/>
              <a:t>Facilité de mise en œuvre</a:t>
            </a:r>
          </a:p>
          <a:p>
            <a:pPr lvl="1"/>
            <a:r>
              <a:rPr lang="fr-FR" smtClean="0"/>
              <a:t>Impact attendu mesurable sur le projet </a:t>
            </a:r>
          </a:p>
          <a:p>
            <a:pPr lvl="1"/>
            <a:r>
              <a:rPr lang="fr-FR" smtClean="0"/>
              <a:t>Mobilisation de ressources existantes</a:t>
            </a:r>
          </a:p>
          <a:p>
            <a:pPr lvl="1"/>
            <a:r>
              <a:rPr lang="fr-FR" smtClean="0"/>
              <a:t>Structurant le parcours</a:t>
            </a:r>
          </a:p>
          <a:p>
            <a:pPr lvl="1"/>
            <a:r>
              <a:rPr lang="fr-FR" smtClean="0"/>
              <a:t>Réalisable à court, moyen, long terme</a:t>
            </a:r>
          </a:p>
          <a:p>
            <a:pPr lvl="1"/>
            <a:endParaRPr lang="fr-FR" smtClean="0"/>
          </a:p>
          <a:p>
            <a:pPr lvl="1"/>
            <a:endParaRPr lang="fr-FR" smtClean="0"/>
          </a:p>
          <a:p>
            <a:r>
              <a:rPr lang="fr-FR" smtClean="0"/>
              <a:t>Moyens </a:t>
            </a:r>
          </a:p>
          <a:p>
            <a:pPr lvl="1"/>
            <a:r>
              <a:rPr lang="fr-FR" smtClean="0"/>
              <a:t>Des objectifs et des indicateurs précis</a:t>
            </a:r>
          </a:p>
          <a:p>
            <a:pPr lvl="1"/>
            <a:r>
              <a:rPr lang="fr-FR" smtClean="0"/>
              <a:t>Des ressources et des responsabilités clairement allouées</a:t>
            </a:r>
          </a:p>
          <a:p>
            <a:pPr lvl="1"/>
            <a:r>
              <a:rPr lang="fr-FR" smtClean="0"/>
              <a:t>Un calendrier à respecter</a:t>
            </a:r>
          </a:p>
          <a:p>
            <a:endParaRPr lang="fr-FR" smtClean="0"/>
          </a:p>
          <a:p>
            <a:r>
              <a:rPr lang="fr-FR" smtClean="0"/>
              <a:t>Thématiques : interconnaissance, évaluation des situations, réorganisation et adaptation des structures, adaptation de l’offre, concertation/partage d’information…</a:t>
            </a:r>
          </a:p>
          <a:p>
            <a:endParaRPr lang="fr-FR" smtClean="0"/>
          </a:p>
          <a:p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7632700" y="139700"/>
            <a:ext cx="13589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>
                <a:solidFill>
                  <a:schemeClr val="bg1"/>
                </a:solidFill>
              </a:rPr>
              <a:t>LOGO ARS</a:t>
            </a:r>
            <a:endParaRPr lang="fr-FR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560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19&quot;&gt;&lt;version val=&quot;178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m_eweekdayFirstOfWorkweek val=&quot;2&quot;/&gt;&lt;m_eweekdayFirstOfWeekend val=&quot;7&quot;/&gt;&lt;m_mapectfillschemeMRU&gt;&lt;key val=&quot;4&quot;/&gt;&lt;elem&gt;&lt;m_nPartnerID val=&quot;536&quot;/&gt;&lt;m_nIndex val=&quot;1&quot;/&gt;&lt;/elem&gt;&lt;/m_mapectfillschemeMRU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/m_precDefault&gt;&lt;/CDefaultPrec&gt;&lt;/root&gt;"/>
  <p:tag name="THINKCELLUNDODONOTDELETE" val="1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ANAP">
  <a:themeElements>
    <a:clrScheme name="Personnalisé ANAP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354C"/>
      </a:accent1>
      <a:accent2>
        <a:srgbClr val="36616C"/>
      </a:accent2>
      <a:accent3>
        <a:srgbClr val="C1AF87"/>
      </a:accent3>
      <a:accent4>
        <a:srgbClr val="E0D6C2"/>
      </a:accent4>
      <a:accent5>
        <a:srgbClr val="EE8028"/>
      </a:accent5>
      <a:accent6>
        <a:srgbClr val="AD173D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ème ANAP" id="{2CA627C3-6540-4560-8831-DE9AEB7DD84D}" vid="{31D77F5E-65BA-4FDC-999D-392F090E0D76}"/>
    </a:ext>
  </a:extLst>
</a:theme>
</file>

<file path=ppt/theme/theme2.xml><?xml version="1.0" encoding="utf-8"?>
<a:theme xmlns:a="http://schemas.openxmlformats.org/drawingml/2006/main" name="1_Thème ANAP">
  <a:themeElements>
    <a:clrScheme name="Personnalisé ANAP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354C"/>
      </a:accent1>
      <a:accent2>
        <a:srgbClr val="36616C"/>
      </a:accent2>
      <a:accent3>
        <a:srgbClr val="C1AF87"/>
      </a:accent3>
      <a:accent4>
        <a:srgbClr val="E0D6C2"/>
      </a:accent4>
      <a:accent5>
        <a:srgbClr val="EE8028"/>
      </a:accent5>
      <a:accent6>
        <a:srgbClr val="AD173D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hème ANAP" id="{2CA627C3-6540-4560-8831-DE9AEB7DD84D}" vid="{31D77F5E-65BA-4FDC-999D-392F090E0D76}"/>
    </a:ext>
  </a:extLst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NAP Présentation</Template>
  <TotalTime>2668</TotalTime>
  <Words>1250</Words>
  <Application>Microsoft Office PowerPoint</Application>
  <PresentationFormat>Affichage à l'écran (4:3)</PresentationFormat>
  <Paragraphs>392</Paragraphs>
  <Slides>20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0</vt:i4>
      </vt:variant>
    </vt:vector>
  </HeadingPairs>
  <TitlesOfParts>
    <vt:vector size="26" baseType="lpstr">
      <vt:lpstr>Arial</vt:lpstr>
      <vt:lpstr>Calibri</vt:lpstr>
      <vt:lpstr>Wingdings</vt:lpstr>
      <vt:lpstr>Thème ANAP</vt:lpstr>
      <vt:lpstr>1_Thème ANAP</vt:lpstr>
      <vt:lpstr>Diapositive think-cell</vt:lpstr>
      <vt:lpstr>METTRE EN ŒUVRE UN PROJet DE PARCOURS n psychiatrie et sante mentale</vt:lpstr>
      <vt:lpstr>Ordre du jour</vt:lpstr>
      <vt:lpstr>Ordre du jour</vt:lpstr>
      <vt:lpstr>Ordre du jour</vt:lpstr>
      <vt:lpstr>Mettre en œuvre un projet de parcours en psychiatrie et santé mentale</vt:lpstr>
      <vt:lpstr>La construction de la feuille de route est un processus en plusieurs étapes</vt:lpstr>
      <vt:lpstr>DES ACTIONS PAR PORTE* A DES ACTIONS PAR THEMATIQUE</vt:lpstr>
      <vt:lpstr>Le passage du diagnostic à la feuille de route :  des portes d’entrée aux grandes orientations </vt:lpstr>
      <vt:lpstr>Critères de sélection des actions</vt:lpstr>
      <vt:lpstr>Ordre du jour</vt:lpstr>
      <vt:lpstr>Les résultats du diagnostic…</vt:lpstr>
      <vt:lpstr>Les objectifs de la feuille de route… à titre indicatif</vt:lpstr>
      <vt:lpstr>Le Plan d’actions </vt:lpstr>
      <vt:lpstr>Intitulé de l’action</vt:lpstr>
      <vt:lpstr>Intitulé de l’action</vt:lpstr>
      <vt:lpstr>LOGO ARS</vt:lpstr>
      <vt:lpstr>Groupe des pilotes d’action </vt:lpstr>
      <vt:lpstr> Rythmicité et calendrier des réunions</vt:lpstr>
      <vt:lpstr>Ordre du jour</vt:lpstr>
      <vt:lpstr>Prochaines étapes</vt:lpstr>
    </vt:vector>
  </TitlesOfParts>
  <Company>GMSI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…</dc:title>
  <dc:creator>ANAP</dc:creator>
  <cp:lastModifiedBy>Corinne Martinez</cp:lastModifiedBy>
  <cp:revision>168</cp:revision>
  <cp:lastPrinted>2009-11-16T21:05:47Z</cp:lastPrinted>
  <dcterms:created xsi:type="dcterms:W3CDTF">2011-01-25T15:39:26Z</dcterms:created>
  <dcterms:modified xsi:type="dcterms:W3CDTF">2016-07-29T09:1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Diapositive 1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/>
  </property>
  <property fmtid="{D5CDD505-2E9C-101B-9397-08002B2CF9AE}" pid="6" name="docid">
    <vt:lpwstr/>
  </property>
</Properties>
</file>